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6A78EC73-BEED-4044-9862-3062CA09572F}">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3880000000000001</c:v>
                </c:pt>
                <c:pt idx="6">
                  <c:v>0.12379999999999999</c:v>
                </c:pt>
                <c:pt idx="7">
                  <c:v>0.42659999999999998</c:v>
                </c:pt>
                <c:pt idx="9">
                  <c:v>0.210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0.23880000000000001</c:v>
                </c:pt>
                <c:pt idx="5">
                  <c:v>0.12379999999999999</c:v>
                </c:pt>
                <c:pt idx="8">
                  <c:v>0.42659999999999998</c:v>
                </c:pt>
                <c:pt idx="9">
                  <c:v>0.210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29509999999999997</c:v>
                </c:pt>
                <c:pt idx="3">
                  <c:v>0.2591</c:v>
                </c:pt>
                <c:pt idx="5">
                  <c:v>9.8100000000000007E-2</c:v>
                </c:pt>
                <c:pt idx="8">
                  <c:v>0.32700000000000001</c:v>
                </c:pt>
                <c:pt idx="9">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425597825452717E-2</c:v>
                </c:pt>
                <c:pt idx="1">
                  <c:v>7.2109019127578972E-2</c:v>
                </c:pt>
                <c:pt idx="3">
                  <c:v>5.0303297755392837E-4</c:v>
                </c:pt>
                <c:pt idx="4">
                  <c:v>0.12402220207660479</c:v>
                </c:pt>
                <c:pt idx="5">
                  <c:v>2.9994597498183262E-3</c:v>
                </c:pt>
                <c:pt idx="6">
                  <c:v>0.22171959768659777</c:v>
                </c:pt>
                <c:pt idx="7">
                  <c:v>0.38358536672772303</c:v>
                </c:pt>
                <c:pt idx="8">
                  <c:v>5.5040210686961785E-3</c:v>
                </c:pt>
                <c:pt idx="9">
                  <c:v>1.6054128463587373E-3</c:v>
                </c:pt>
                <c:pt idx="10">
                  <c:v>0.16762790765090618</c:v>
                </c:pt>
                <c:pt idx="11">
                  <c:v>3.82920830483750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1">
                  <c:v>4.6013922667824869E-3</c:v>
                </c:pt>
                <c:pt idx="4">
                  <c:v>4.0408663418901166E-3</c:v>
                </c:pt>
                <c:pt idx="6">
                  <c:v>1.5302096242626191E-3</c:v>
                </c:pt>
                <c:pt idx="7">
                  <c:v>5.0985998948984614E-3</c:v>
                </c:pt>
                <c:pt idx="10">
                  <c:v>3.219235799853063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0692638319360785E-2</c:v>
                </c:pt>
                <c:pt idx="1">
                  <c:v>4.6089641188097379E-2</c:v>
                </c:pt>
                <c:pt idx="4">
                  <c:v>5.6457768414170002E-2</c:v>
                </c:pt>
                <c:pt idx="6">
                  <c:v>6.7895764878645834E-2</c:v>
                </c:pt>
                <c:pt idx="7">
                  <c:v>0.17840524776356115</c:v>
                </c:pt>
                <c:pt idx="10">
                  <c:v>7.9205394229489856E-2</c:v>
                </c:pt>
                <c:pt idx="11">
                  <c:v>3.806791456361746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7.3264929383413903E-4</c:v>
                </c:pt>
                <c:pt idx="1">
                  <c:v>1.6384773534098278E-3</c:v>
                </c:pt>
                <c:pt idx="4">
                  <c:v>1.7649141655840698E-2</c:v>
                </c:pt>
                <c:pt idx="6">
                  <c:v>2.0193127418620536E-2</c:v>
                </c:pt>
                <c:pt idx="7">
                  <c:v>2.6744300516275039E-2</c:v>
                </c:pt>
                <c:pt idx="10">
                  <c:v>4.263863694428621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4">
                  <c:v>3.216551840367459E-3</c:v>
                </c:pt>
                <c:pt idx="6">
                  <c:v>5.3626943437083199E-3</c:v>
                </c:pt>
                <c:pt idx="7">
                  <c:v>1.468612754068007E-2</c:v>
                </c:pt>
                <c:pt idx="10">
                  <c:v>1.872734108882807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5.0003102122577947E-3</c:v>
                </c:pt>
                <c:pt idx="1">
                  <c:v>1.0168183266816009E-5</c:v>
                </c:pt>
                <c:pt idx="2">
                  <c:v>1.9779508319289277E-2</c:v>
                </c:pt>
                <c:pt idx="3">
                  <c:v>5.0303297755392837E-4</c:v>
                </c:pt>
                <c:pt idx="4">
                  <c:v>4.2657873824336535E-2</c:v>
                </c:pt>
                <c:pt idx="5">
                  <c:v>2.9994597498183262E-3</c:v>
                </c:pt>
                <c:pt idx="6">
                  <c:v>0.12673780142136046</c:v>
                </c:pt>
                <c:pt idx="7">
                  <c:v>5.5040210686961777E-3</c:v>
                </c:pt>
                <c:pt idx="8">
                  <c:v>0.15865109101230837</c:v>
                </c:pt>
                <c:pt idx="9">
                  <c:v>1.6054128463587371E-3</c:v>
                </c:pt>
                <c:pt idx="10">
                  <c:v>8.1963992038119604E-2</c:v>
                </c:pt>
                <c:pt idx="11">
                  <c:v>2.2416848475758328E-5</c:v>
                </c:pt>
                <c:pt idx="12">
                  <c:v>5.900577460496780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31469999999999998</c:v>
                </c:pt>
                <c:pt idx="4">
                  <c:v>0.22209999999999999</c:v>
                </c:pt>
                <c:pt idx="5">
                  <c:v>0.16370000000000001</c:v>
                </c:pt>
                <c:pt idx="8">
                  <c:v>0.25140000000000001</c:v>
                </c:pt>
                <c:pt idx="9">
                  <c:v>4.7600000000000003E-2</c:v>
                </c:pt>
                <c:pt idx="12">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9161034387940859E-3</c:v>
                </c:pt>
                <c:pt idx="1">
                  <c:v>1.5668853518267908E-2</c:v>
                </c:pt>
                <c:pt idx="2">
                  <c:v>1.9310351879507848E-2</c:v>
                </c:pt>
                <c:pt idx="3">
                  <c:v>7.1563731574112333E-2</c:v>
                </c:pt>
                <c:pt idx="4">
                  <c:v>4.8996064231483491E-2</c:v>
                </c:pt>
                <c:pt idx="5">
                  <c:v>6.9749540147984693E-2</c:v>
                </c:pt>
                <c:pt idx="6">
                  <c:v>0.17415812264811881</c:v>
                </c:pt>
                <c:pt idx="7">
                  <c:v>0.25974625022779813</c:v>
                </c:pt>
                <c:pt idx="8">
                  <c:v>0.14760341895829021</c:v>
                </c:pt>
                <c:pt idx="9">
                  <c:v>8.4821602273511043E-2</c:v>
                </c:pt>
                <c:pt idx="10">
                  <c:v>0.10281938118700142</c:v>
                </c:pt>
                <c:pt idx="11">
                  <c:v>6.348637933758477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0">
                  <c:v>1.9980267979165756E-8</c:v>
                </c:pt>
                <c:pt idx="2">
                  <c:v>8.6539089971091384E-3</c:v>
                </c:pt>
                <c:pt idx="3">
                  <c:v>6.1078173007492829E-3</c:v>
                </c:pt>
                <c:pt idx="5">
                  <c:v>2.2285683515223345E-8</c:v>
                </c:pt>
                <c:pt idx="6">
                  <c:v>4.5010617852531739E-3</c:v>
                </c:pt>
                <c:pt idx="7">
                  <c:v>6.9138912419667567E-3</c:v>
                </c:pt>
                <c:pt idx="9">
                  <c:v>4.0729007803684044E-8</c:v>
                </c:pt>
                <c:pt idx="10">
                  <c:v>1.3100738955763938E-3</c:v>
                </c:pt>
                <c:pt idx="11">
                  <c:v>1.380329128622212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6.756857862728194E-4</c:v>
                </c:pt>
                <c:pt idx="1">
                  <c:v>1.359121303717281E-2</c:v>
                </c:pt>
                <c:pt idx="2">
                  <c:v>1.7633162845497796E-3</c:v>
                </c:pt>
                <c:pt idx="3">
                  <c:v>5.3106153669864042E-3</c:v>
                </c:pt>
                <c:pt idx="4">
                  <c:v>4.5563195217650933E-2</c:v>
                </c:pt>
                <c:pt idx="5">
                  <c:v>6.7634778634399831E-2</c:v>
                </c:pt>
                <c:pt idx="6">
                  <c:v>7.4059660502294958E-3</c:v>
                </c:pt>
                <c:pt idx="7">
                  <c:v>1.8342010497313113E-2</c:v>
                </c:pt>
                <c:pt idx="8">
                  <c:v>0.14381011282636008</c:v>
                </c:pt>
                <c:pt idx="9">
                  <c:v>8.2372522462908493E-2</c:v>
                </c:pt>
                <c:pt idx="10">
                  <c:v>1.1944444729632886E-2</c:v>
                </c:pt>
                <c:pt idx="11">
                  <c:v>5.6222168677836379E-4</c:v>
                </c:pt>
                <c:pt idx="12">
                  <c:v>1.171612175424465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3.143049847491844E-6</c:v>
                </c:pt>
                <c:pt idx="2">
                  <c:v>5.3434921294742763E-5</c:v>
                </c:pt>
                <c:pt idx="3">
                  <c:v>5.4997455097898053E-3</c:v>
                </c:pt>
                <c:pt idx="6">
                  <c:v>7.5147486192420638E-3</c:v>
                </c:pt>
                <c:pt idx="7">
                  <c:v>2.3073469363465118E-2</c:v>
                </c:pt>
                <c:pt idx="10">
                  <c:v>1.260934731897171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6">
                  <c:v>2.018945216324548E-2</c:v>
                </c:pt>
                <c:pt idx="7">
                  <c:v>1.5437810152547133E-2</c:v>
                </c:pt>
                <c:pt idx="10">
                  <c:v>5.45650359905181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4.2372546224057955E-3</c:v>
                </c:pt>
                <c:pt idx="1">
                  <c:v>2.0776404810950977E-3</c:v>
                </c:pt>
                <c:pt idx="2">
                  <c:v>8.8396916765541844E-3</c:v>
                </c:pt>
                <c:pt idx="3">
                  <c:v>5.1675182246633099E-3</c:v>
                </c:pt>
                <c:pt idx="4">
                  <c:v>5.2910904185756093E-2</c:v>
                </c:pt>
                <c:pt idx="5">
                  <c:v>0.10824349830860268</c:v>
                </c:pt>
                <c:pt idx="6">
                  <c:v>2.8418134949447248E-2</c:v>
                </c:pt>
                <c:pt idx="7">
                  <c:v>3.0685855404546603E-2</c:v>
                </c:pt>
                <c:pt idx="8">
                  <c:v>0.1690865196998895</c:v>
                </c:pt>
                <c:pt idx="9">
                  <c:v>2.4490390815947484E-3</c:v>
                </c:pt>
                <c:pt idx="10">
                  <c:v>8.7758277469989779E-2</c:v>
                </c:pt>
                <c:pt idx="11">
                  <c:v>5.883881531126174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33239999999999997</c:v>
                </c:pt>
                <c:pt idx="3">
                  <c:v>0.27910000000000001</c:v>
                </c:pt>
                <c:pt idx="6">
                  <c:v>3.09E-2</c:v>
                </c:pt>
                <c:pt idx="7">
                  <c:v>0.3024</c:v>
                </c:pt>
                <c:pt idx="9">
                  <c:v>5.41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2878102429301417E-3</c:v>
                </c:pt>
                <c:pt idx="1">
                  <c:v>2.0023523609660875E-2</c:v>
                </c:pt>
                <c:pt idx="2">
                  <c:v>1.3723429107454667E-2</c:v>
                </c:pt>
                <c:pt idx="3">
                  <c:v>4.7938782731616891E-2</c:v>
                </c:pt>
                <c:pt idx="4">
                  <c:v>7.1293444664093722E-2</c:v>
                </c:pt>
                <c:pt idx="5">
                  <c:v>0.1656881657217858</c:v>
                </c:pt>
                <c:pt idx="6">
                  <c:v>5.9864438195894244E-2</c:v>
                </c:pt>
                <c:pt idx="7">
                  <c:v>0.16391615246101154</c:v>
                </c:pt>
                <c:pt idx="8">
                  <c:v>0.26091603865744672</c:v>
                </c:pt>
                <c:pt idx="9">
                  <c:v>8.6862495206883369E-2</c:v>
                </c:pt>
                <c:pt idx="10">
                  <c:v>0.1052816373234158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1717458755761993E-7</c:v>
                </c:pt>
                <c:pt idx="1">
                  <c:v>1.0098768442806877E-2</c:v>
                </c:pt>
                <c:pt idx="4">
                  <c:v>8.4792398808792319E-3</c:v>
                </c:pt>
                <c:pt idx="5">
                  <c:v>9.400241152511937E-4</c:v>
                </c:pt>
                <c:pt idx="8">
                  <c:v>9.1858747512901778E-3</c:v>
                </c:pt>
                <c:pt idx="10">
                  <c:v>1.643238389048437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3.6729726484407787E-6</c:v>
                </c:pt>
                <c:pt idx="2">
                  <c:v>9.7136516272242276E-3</c:v>
                </c:pt>
                <c:pt idx="3">
                  <c:v>4.2992807337090502E-2</c:v>
                </c:pt>
                <c:pt idx="6">
                  <c:v>5.7954929570050925E-2</c:v>
                </c:pt>
                <c:pt idx="7">
                  <c:v>0.15777279699652327</c:v>
                </c:pt>
                <c:pt idx="9">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4.1822314328258191E-6</c:v>
                </c:pt>
                <c:pt idx="1">
                  <c:v>4.5743156296532397E-6</c:v>
                </c:pt>
                <c:pt idx="4">
                  <c:v>5.5932523229095844E-3</c:v>
                </c:pt>
                <c:pt idx="5">
                  <c:v>7.7629831741438445E-3</c:v>
                </c:pt>
                <c:pt idx="8">
                  <c:v>2.4335210428163334E-2</c:v>
                </c:pt>
                <c:pt idx="10">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2.3709601785048481E-3</c:v>
                </c:pt>
                <c:pt idx="4">
                  <c:v>6.4904626465531858E-3</c:v>
                </c:pt>
                <c:pt idx="5">
                  <c:v>6.6068575724320573E-3</c:v>
                </c:pt>
                <c:pt idx="8">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4.279837864261316E-3</c:v>
                </c:pt>
                <c:pt idx="1">
                  <c:v>5.2438692498171045E-3</c:v>
                </c:pt>
                <c:pt idx="2">
                  <c:v>6.3151289031328321E-3</c:v>
                </c:pt>
                <c:pt idx="3">
                  <c:v>4.9459753945263855E-3</c:v>
                </c:pt>
                <c:pt idx="4">
                  <c:v>5.0730489813751709E-2</c:v>
                </c:pt>
                <c:pt idx="5">
                  <c:v>0.15037830085995874</c:v>
                </c:pt>
                <c:pt idx="7">
                  <c:v>6.1433554644882669E-3</c:v>
                </c:pt>
                <c:pt idx="8">
                  <c:v>0.20315190086294396</c:v>
                </c:pt>
                <c:pt idx="9">
                  <c:v>4.3053323504849104E-3</c:v>
                </c:pt>
                <c:pt idx="10">
                  <c:v>0.10260547790475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29509999999999997</c:v>
                </c:pt>
                <c:pt idx="3">
                  <c:v>0.2591</c:v>
                </c:pt>
                <c:pt idx="5">
                  <c:v>9.8100000000000007E-2</c:v>
                </c:pt>
                <c:pt idx="8">
                  <c:v>0.32700000000000001</c:v>
                </c:pt>
                <c:pt idx="9">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9161034387940859E-3</c:v>
                </c:pt>
                <c:pt idx="1">
                  <c:v>1.5668853518267908E-2</c:v>
                </c:pt>
                <c:pt idx="2">
                  <c:v>1.9310351879507848E-2</c:v>
                </c:pt>
                <c:pt idx="3">
                  <c:v>7.1563731574112333E-2</c:v>
                </c:pt>
                <c:pt idx="4">
                  <c:v>4.8996064231483491E-2</c:v>
                </c:pt>
                <c:pt idx="5">
                  <c:v>6.9749540147984693E-2</c:v>
                </c:pt>
                <c:pt idx="6">
                  <c:v>0.17415812264811881</c:v>
                </c:pt>
                <c:pt idx="7">
                  <c:v>0.25974625022779813</c:v>
                </c:pt>
                <c:pt idx="8">
                  <c:v>0.14760341895829021</c:v>
                </c:pt>
                <c:pt idx="9">
                  <c:v>8.4821602273511043E-2</c:v>
                </c:pt>
                <c:pt idx="10">
                  <c:v>0.10281938118700142</c:v>
                </c:pt>
                <c:pt idx="11">
                  <c:v>6.348637933758477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436449174607335E-3</c:v>
                </c:pt>
                <c:pt idx="1">
                  <c:v>2.9401906875188205E-2</c:v>
                </c:pt>
                <c:pt idx="4">
                  <c:v>0.12607359527604595</c:v>
                </c:pt>
                <c:pt idx="5">
                  <c:v>2.4578091213436752E-3</c:v>
                </c:pt>
                <c:pt idx="6">
                  <c:v>0.25213010765919697</c:v>
                </c:pt>
                <c:pt idx="7">
                  <c:v>0.39132364067278441</c:v>
                </c:pt>
                <c:pt idx="8">
                  <c:v>8.5521297241422135E-3</c:v>
                </c:pt>
                <c:pt idx="9">
                  <c:v>2.583863736266491E-3</c:v>
                </c:pt>
                <c:pt idx="10">
                  <c:v>0.17575172879192341</c:v>
                </c:pt>
                <c:pt idx="12">
                  <c:v>4.253105592017428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1">
                  <c:v>9.6013217915689383E-3</c:v>
                </c:pt>
                <c:pt idx="4">
                  <c:v>8.4317214911860186E-3</c:v>
                </c:pt>
                <c:pt idx="6">
                  <c:v>3.1929542536860422E-3</c:v>
                </c:pt>
                <c:pt idx="7">
                  <c:v>1.0638531109486055E-2</c:v>
                </c:pt>
                <c:pt idx="10">
                  <c:v>6.717297079942516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1">
                  <c:v>1.3193495949862291E-2</c:v>
                </c:pt>
                <c:pt idx="4">
                  <c:v>3.973502736905412E-2</c:v>
                </c:pt>
                <c:pt idx="6">
                  <c:v>5.5412948633868524E-2</c:v>
                </c:pt>
                <c:pt idx="7">
                  <c:v>0.13673428642229304</c:v>
                </c:pt>
                <c:pt idx="10">
                  <c:v>8.9370974016816415E-2</c:v>
                </c:pt>
                <c:pt idx="12">
                  <c:v>4.20633031981941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6.7116966970143218E-3</c:v>
                </c:pt>
                <c:pt idx="6">
                  <c:v>1.1189864084283716E-2</c:v>
                </c:pt>
                <c:pt idx="7">
                  <c:v>2.9098899709325752E-2</c:v>
                </c:pt>
                <c:pt idx="10">
                  <c:v>5.033444779611966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6">
                  <c:v>2.5545416492227292E-2</c:v>
                </c:pt>
                <c:pt idx="7">
                  <c:v>1.6439498594611503E-2</c:v>
                </c:pt>
                <c:pt idx="10">
                  <c:v>7.75302292887043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7.1436449174607335E-3</c:v>
                </c:pt>
                <c:pt idx="1">
                  <c:v>6.6070891337569751E-3</c:v>
                </c:pt>
                <c:pt idx="3">
                  <c:v>3.2846763363046964E-4</c:v>
                </c:pt>
                <c:pt idx="4">
                  <c:v>7.1195149718791484E-2</c:v>
                </c:pt>
                <c:pt idx="5">
                  <c:v>2.4578091213436752E-3</c:v>
                </c:pt>
                <c:pt idx="6">
                  <c:v>0.15678892419513138</c:v>
                </c:pt>
                <c:pt idx="7">
                  <c:v>0.19841242483706809</c:v>
                </c:pt>
                <c:pt idx="8">
                  <c:v>8.5521297241422135E-3</c:v>
                </c:pt>
                <c:pt idx="9">
                  <c:v>2.583863736266491E-3</c:v>
                </c:pt>
                <c:pt idx="10">
                  <c:v>8.4430378296264499E-2</c:v>
                </c:pt>
                <c:pt idx="11">
                  <c:v>4.677527219801615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7.0101742146927604E-2</c:v>
                </c:pt>
                <c:pt idx="6">
                  <c:v>0.41578319720218693</c:v>
                </c:pt>
                <c:pt idx="7">
                  <c:v>2.1967721720985125E-2</c:v>
                </c:pt>
                <c:pt idx="9">
                  <c:v>5.2986577548062776E-2</c:v>
                </c:pt>
                <c:pt idx="10">
                  <c:v>0.43453376004045885</c:v>
                </c:pt>
                <c:pt idx="11">
                  <c:v>3.4472484479923177E-3</c:v>
                </c:pt>
                <c:pt idx="12">
                  <c:v>5.47874954858679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7.002916503154874E-2</c:v>
                </c:pt>
                <c:pt idx="6">
                  <c:v>0.41557756813574326</c:v>
                </c:pt>
                <c:pt idx="10">
                  <c:v>0.101435769124919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2.8231035371234139E-3</c:v>
                </c:pt>
                <c:pt idx="10">
                  <c:v>8.54145628596246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2.0562906644367273E-4</c:v>
                </c:pt>
                <c:pt idx="6">
                  <c:v>7.2577115378856744E-5</c:v>
                </c:pt>
                <c:pt idx="7">
                  <c:v>2.1967721720985125E-2</c:v>
                </c:pt>
                <c:pt idx="8">
                  <c:v>4.2290337784863809E-4</c:v>
                </c:pt>
                <c:pt idx="9">
                  <c:v>5.016347401093936E-2</c:v>
                </c:pt>
                <c:pt idx="10">
                  <c:v>8.4493656156830035E-2</c:v>
                </c:pt>
                <c:pt idx="11">
                  <c:v>5.478749548586796E-4</c:v>
                </c:pt>
                <c:pt idx="12">
                  <c:v>3.447248447992317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283338226409511</c:v>
                </c:pt>
                <c:pt idx="6">
                  <c:v>6.734849459052232E-2</c:v>
                </c:pt>
                <c:pt idx="7">
                  <c:v>1.6386580516175052E-2</c:v>
                </c:pt>
                <c:pt idx="9">
                  <c:v>5.4127289535044538E-2</c:v>
                </c:pt>
                <c:pt idx="10">
                  <c:v>0.4374843927045447</c:v>
                </c:pt>
                <c:pt idx="11">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1241799649154309</c:v>
                </c:pt>
                <c:pt idx="6">
                  <c:v>6.734849459052232E-2</c:v>
                </c:pt>
                <c:pt idx="10">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5.0850788674914535E-3</c:v>
                </c:pt>
                <c:pt idx="10">
                  <c:v>9.49460265390746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4.1538577255202636E-4</c:v>
                </c:pt>
                <c:pt idx="8">
                  <c:v>1.6386580516175055E-2</c:v>
                </c:pt>
                <c:pt idx="9">
                  <c:v>4.9042210667553085E-2</c:v>
                </c:pt>
                <c:pt idx="10">
                  <c:v>6.4707980405049659E-2</c:v>
                </c:pt>
                <c:pt idx="11">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3462412004632861</c:v>
                </c:pt>
                <c:pt idx="6">
                  <c:v>6.1306354692189528E-2</c:v>
                </c:pt>
                <c:pt idx="7">
                  <c:v>2.5558696901447086E-2</c:v>
                </c:pt>
                <c:pt idx="9">
                  <c:v>4.8202240786807821E-3</c:v>
                </c:pt>
                <c:pt idx="10">
                  <c:v>0.4736906042813540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3">
                  <c:v>5.3765125961972287E-3</c:v>
                </c:pt>
                <c:pt idx="6">
                  <c:v>2.787185905345995E-3</c:v>
                </c:pt>
                <c:pt idx="7">
                  <c:v>9.604411073885856E-3</c:v>
                </c:pt>
                <c:pt idx="8">
                  <c:v>7.1467881617785207E-8</c:v>
                </c:pt>
                <c:pt idx="10">
                  <c:v>4.74307585503820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6.756857862728194E-4</c:v>
                </c:pt>
                <c:pt idx="1">
                  <c:v>1.359121303717281E-2</c:v>
                </c:pt>
                <c:pt idx="2">
                  <c:v>1.7633162845497796E-3</c:v>
                </c:pt>
                <c:pt idx="3">
                  <c:v>5.3106153669864042E-3</c:v>
                </c:pt>
                <c:pt idx="4">
                  <c:v>4.5563195217650933E-2</c:v>
                </c:pt>
                <c:pt idx="5">
                  <c:v>6.7634778634399831E-2</c:v>
                </c:pt>
                <c:pt idx="6">
                  <c:v>7.4059660502294958E-3</c:v>
                </c:pt>
                <c:pt idx="7">
                  <c:v>1.8342010497313113E-2</c:v>
                </c:pt>
                <c:pt idx="8">
                  <c:v>0.14381011282636008</c:v>
                </c:pt>
                <c:pt idx="9">
                  <c:v>8.2372522462908493E-2</c:v>
                </c:pt>
                <c:pt idx="10">
                  <c:v>1.1944444729632886E-2</c:v>
                </c:pt>
                <c:pt idx="11">
                  <c:v>5.6222168677836379E-4</c:v>
                </c:pt>
                <c:pt idx="12">
                  <c:v>1.171612175424465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3.143049847491844E-6</c:v>
                </c:pt>
                <c:pt idx="2">
                  <c:v>5.3434921294742763E-5</c:v>
                </c:pt>
                <c:pt idx="3">
                  <c:v>5.4997455097898053E-3</c:v>
                </c:pt>
                <c:pt idx="6">
                  <c:v>7.5147486192420638E-3</c:v>
                </c:pt>
                <c:pt idx="7">
                  <c:v>2.3073469363465118E-2</c:v>
                </c:pt>
                <c:pt idx="10">
                  <c:v>1.260934731897171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6">
                  <c:v>2.018945216324548E-2</c:v>
                </c:pt>
                <c:pt idx="7">
                  <c:v>1.5437810152547133E-2</c:v>
                </c:pt>
                <c:pt idx="10">
                  <c:v>5.45650359905181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4.2372746026737747E-3</c:v>
                </c:pt>
                <c:pt idx="1">
                  <c:v>2.0776404810950977E-3</c:v>
                </c:pt>
                <c:pt idx="2">
                  <c:v>1.7493600673663321E-2</c:v>
                </c:pt>
                <c:pt idx="3">
                  <c:v>5.1675182246633099E-3</c:v>
                </c:pt>
                <c:pt idx="4">
                  <c:v>5.364220889030815E-2</c:v>
                </c:pt>
                <c:pt idx="5">
                  <c:v>0.10995737418850986</c:v>
                </c:pt>
                <c:pt idx="6">
                  <c:v>2.8418157235130762E-2</c:v>
                </c:pt>
                <c:pt idx="7">
                  <c:v>3.0685783936664983E-2</c:v>
                </c:pt>
                <c:pt idx="8">
                  <c:v>0.16639599986797041</c:v>
                </c:pt>
                <c:pt idx="9">
                  <c:v>2.4490798106025519E-3</c:v>
                </c:pt>
                <c:pt idx="10">
                  <c:v>8.4325275510527972E-2</c:v>
                </c:pt>
                <c:pt idx="11">
                  <c:v>7.264210659748386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5">
                  <c:v>0.43462412004632861</c:v>
                </c:pt>
                <c:pt idx="6">
                  <c:v>6.0976747951362341E-2</c:v>
                </c:pt>
                <c:pt idx="10">
                  <c:v>8.0574973105906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10">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9">
                  <c:v>4.8202240786807821E-3</c:v>
                </c:pt>
                <c:pt idx="10">
                  <c:v>0.112774616966921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5">
                  <c:v>3.2960674082718516E-4</c:v>
                </c:pt>
                <c:pt idx="8">
                  <c:v>2.5558696901447086E-2</c:v>
                </c:pt>
                <c:pt idx="9">
                  <c:v>0.136615206290198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403361837539186E-3</c:v>
                </c:pt>
                <c:pt idx="1">
                  <c:v>4.9156687201813688E-2</c:v>
                </c:pt>
                <c:pt idx="3">
                  <c:v>1.5322460926377875E-2</c:v>
                </c:pt>
                <c:pt idx="4">
                  <c:v>3.6291236589418288E-3</c:v>
                </c:pt>
                <c:pt idx="5">
                  <c:v>0.43551058204344495</c:v>
                </c:pt>
                <c:pt idx="8">
                  <c:v>0.47945154934812423</c:v>
                </c:pt>
                <c:pt idx="10">
                  <c:v>1.51892606375435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8">
                  <c:v>5.780621953104888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4932892513762492</c:v>
                </c:pt>
                <c:pt idx="8">
                  <c:v>0.2219943317926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4809990341441659</c:v>
                </c:pt>
                <c:pt idx="8">
                  <c:v>0.1997982193962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527730319964803E-2</c:v>
                </c:pt>
                <c:pt idx="5">
                  <c:v>9.6295322382211525E-3</c:v>
                </c:pt>
                <c:pt idx="8">
                  <c:v>6.8906243600574766E-3</c:v>
                </c:pt>
                <c:pt idx="10">
                  <c:v>4.42352870564617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7403361837539186E-3</c:v>
                </c:pt>
                <c:pt idx="1">
                  <c:v>1.5628956881848885E-2</c:v>
                </c:pt>
                <c:pt idx="3">
                  <c:v>3.6291236589418288E-3</c:v>
                </c:pt>
                <c:pt idx="4">
                  <c:v>1.5322460926377875E-2</c:v>
                </c:pt>
                <c:pt idx="5">
                  <c:v>2.8452221253182263E-2</c:v>
                </c:pt>
                <c:pt idx="8">
                  <c:v>5.0762593177168809E-2</c:v>
                </c:pt>
                <c:pt idx="10">
                  <c:v>1.076573193189738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317326504995634E-3</c:v>
                </c:pt>
                <c:pt idx="1">
                  <c:v>4.9172102605190303E-2</c:v>
                </c:pt>
                <c:pt idx="3">
                  <c:v>1.5327587220883452E-2</c:v>
                </c:pt>
                <c:pt idx="4">
                  <c:v>3.6267341626128333E-3</c:v>
                </c:pt>
                <c:pt idx="5">
                  <c:v>0.43558655845726546</c:v>
                </c:pt>
                <c:pt idx="8">
                  <c:v>0.47936451378975942</c:v>
                </c:pt>
                <c:pt idx="10">
                  <c:v>1.51907711137889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8">
                  <c:v>5.782695173959465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4941711663007163</c:v>
                </c:pt>
                <c:pt idx="8">
                  <c:v>0.22206706007039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4815215821257138</c:v>
                </c:pt>
                <c:pt idx="8">
                  <c:v>0.199869015802506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538770756492184E-2</c:v>
                </c:pt>
                <c:pt idx="5">
                  <c:v>9.6304021138580685E-3</c:v>
                </c:pt>
                <c:pt idx="8">
                  <c:v>6.8457267974277591E-3</c:v>
                </c:pt>
                <c:pt idx="10">
                  <c:v>4.42437698841664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7317326504995634E-3</c:v>
                </c:pt>
                <c:pt idx="1">
                  <c:v>1.5633331848698119E-2</c:v>
                </c:pt>
                <c:pt idx="3">
                  <c:v>3.6267341626128333E-3</c:v>
                </c:pt>
                <c:pt idx="4">
                  <c:v>1.5327587220883452E-2</c:v>
                </c:pt>
                <c:pt idx="5">
                  <c:v>2.8386881500764422E-2</c:v>
                </c:pt>
                <c:pt idx="8">
                  <c:v>5.0576928424259864E-2</c:v>
                </c:pt>
                <c:pt idx="10">
                  <c:v>1.07663941253722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31469999999999998</c:v>
                </c:pt>
                <c:pt idx="3">
                  <c:v>0.22209999999999999</c:v>
                </c:pt>
                <c:pt idx="6">
                  <c:v>0.16370000000000001</c:v>
                </c:pt>
                <c:pt idx="8">
                  <c:v>0.25140000000000001</c:v>
                </c:pt>
                <c:pt idx="10">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8.2098172766123009E-2</c:v>
                </c:pt>
                <c:pt idx="2">
                  <c:v>2.766692599215401E-2</c:v>
                </c:pt>
                <c:pt idx="3">
                  <c:v>8.807155321736132E-2</c:v>
                </c:pt>
                <c:pt idx="4">
                  <c:v>0.12152540134740045</c:v>
                </c:pt>
                <c:pt idx="5">
                  <c:v>0.16399541584917099</c:v>
                </c:pt>
                <c:pt idx="6">
                  <c:v>3.8970122847494021E-3</c:v>
                </c:pt>
                <c:pt idx="7">
                  <c:v>0.26606437773631458</c:v>
                </c:pt>
                <c:pt idx="8">
                  <c:v>6.62353207000244E-2</c:v>
                </c:pt>
                <c:pt idx="9">
                  <c:v>0.16673327506438138</c:v>
                </c:pt>
                <c:pt idx="10">
                  <c:v>1.32274005740533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1">
                  <c:v>8.2098172766123009E-2</c:v>
                </c:pt>
                <c:pt idx="4">
                  <c:v>5.7943830949497767E-2</c:v>
                </c:pt>
                <c:pt idx="5">
                  <c:v>4.2700812800336968E-2</c:v>
                </c:pt>
                <c:pt idx="6">
                  <c:v>2.1142051482805436E-7</c:v>
                </c:pt>
                <c:pt idx="7">
                  <c:v>6.5590918261191081E-2</c:v>
                </c:pt>
                <c:pt idx="9">
                  <c:v>1.2428449738880718E-2</c:v>
                </c:pt>
                <c:pt idx="10">
                  <c:v>3.8638921675472004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2">
                  <c:v>1.970710399685453E-2</c:v>
                </c:pt>
                <c:pt idx="3">
                  <c:v>2.2345573699008005E-2</c:v>
                </c:pt>
                <c:pt idx="4">
                  <c:v>3.8012679529826144E-3</c:v>
                </c:pt>
                <c:pt idx="5">
                  <c:v>9.485304119917308E-2</c:v>
                </c:pt>
                <c:pt idx="7">
                  <c:v>3.6068048215162865E-2</c:v>
                </c:pt>
                <c:pt idx="8">
                  <c:v>8.9231340548444789E-3</c:v>
                </c:pt>
                <c:pt idx="9">
                  <c:v>7.2555569312469745E-2</c:v>
                </c:pt>
                <c:pt idx="10">
                  <c:v>5.036598021122936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4">
                  <c:v>5.1006066755415164E-2</c:v>
                </c:pt>
                <c:pt idx="5">
                  <c:v>2.6441561849660927E-2</c:v>
                </c:pt>
                <c:pt idx="7">
                  <c:v>8.8038928844814568E-2</c:v>
                </c:pt>
                <c:pt idx="8">
                  <c:v>6.7800371996582948E-7</c:v>
                </c:pt>
                <c:pt idx="9">
                  <c:v>3.8898859553271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7.9598219952994806E-3</c:v>
                </c:pt>
                <c:pt idx="3">
                  <c:v>6.5725979518353309E-2</c:v>
                </c:pt>
                <c:pt idx="4">
                  <c:v>6.2167108830802342E-3</c:v>
                </c:pt>
                <c:pt idx="6">
                  <c:v>3.8968008642345738E-3</c:v>
                </c:pt>
                <c:pt idx="7">
                  <c:v>1.0135185995265973E-2</c:v>
                </c:pt>
                <c:pt idx="8">
                  <c:v>5.7311508641459959E-2</c:v>
                </c:pt>
                <c:pt idx="9">
                  <c:v>1.558548293136935E-3</c:v>
                </c:pt>
                <c:pt idx="10">
                  <c:v>8.190416163713664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4">
                  <c:v>2.5575248064246526E-3</c:v>
                </c:pt>
                <c:pt idx="7">
                  <c:v>6.6231296419880084E-2</c:v>
                </c:pt>
                <c:pt idx="10">
                  <c:v>4.12918481666221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32469999999999999</c:v>
                </c:pt>
                <c:pt idx="6">
                  <c:v>7.8299999999999995E-2</c:v>
                </c:pt>
                <c:pt idx="7">
                  <c:v>0.35499999999999998</c:v>
                </c:pt>
                <c:pt idx="9">
                  <c:v>0.241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33239999999999997</c:v>
                </c:pt>
                <c:pt idx="4">
                  <c:v>0.27910000000000001</c:v>
                </c:pt>
                <c:pt idx="6">
                  <c:v>3.09E-2</c:v>
                </c:pt>
                <c:pt idx="7">
                  <c:v>0.3024</c:v>
                </c:pt>
                <c:pt idx="10">
                  <c:v>5.4100000000000002E-2</c:v>
                </c:pt>
                <c:pt idx="12">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4175372255002754E-2</c:v>
                </c:pt>
                <c:pt idx="2">
                  <c:v>9.2660402847081449E-2</c:v>
                </c:pt>
                <c:pt idx="3">
                  <c:v>0.16479500394095559</c:v>
                </c:pt>
                <c:pt idx="4">
                  <c:v>7.0594690426060286E-2</c:v>
                </c:pt>
                <c:pt idx="5">
                  <c:v>0.10830141278533575</c:v>
                </c:pt>
                <c:pt idx="6">
                  <c:v>8.9757687778646202E-3</c:v>
                </c:pt>
                <c:pt idx="7">
                  <c:v>4.2644153977669061E-2</c:v>
                </c:pt>
                <c:pt idx="8">
                  <c:v>0.22660645577361263</c:v>
                </c:pt>
                <c:pt idx="9">
                  <c:v>0.20492307455652828</c:v>
                </c:pt>
                <c:pt idx="10">
                  <c:v>2.5445783256084872E-2</c:v>
                </c:pt>
                <c:pt idx="11">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2">
                  <c:v>9.2660402847081449E-2</c:v>
                </c:pt>
                <c:pt idx="3">
                  <c:v>7.7800554359570215E-2</c:v>
                </c:pt>
                <c:pt idx="5">
                  <c:v>8.6251124281583498E-3</c:v>
                </c:pt>
                <c:pt idx="8">
                  <c:v>8.4284223346426851E-2</c:v>
                </c:pt>
                <c:pt idx="9">
                  <c:v>1.5077396017676884E-2</c:v>
                </c:pt>
                <c:pt idx="11">
                  <c:v>3.03847035099253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1">
                  <c:v>3.6790219135821485E-2</c:v>
                </c:pt>
                <c:pt idx="3">
                  <c:v>8.6292888776065019E-3</c:v>
                </c:pt>
                <c:pt idx="4">
                  <c:v>4.5375841373653247E-2</c:v>
                </c:pt>
                <c:pt idx="5">
                  <c:v>8.0793952137310415E-2</c:v>
                </c:pt>
                <c:pt idx="7">
                  <c:v>9.4967084822985322E-3</c:v>
                </c:pt>
                <c:pt idx="8">
                  <c:v>7.3397997727432589E-5</c:v>
                </c:pt>
                <c:pt idx="9">
                  <c:v>8.746551999834927E-2</c:v>
                </c:pt>
                <c:pt idx="10">
                  <c:v>6.5896515604765803E-3</c:v>
                </c:pt>
                <c:pt idx="11">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3">
                  <c:v>7.8311404423753145E-2</c:v>
                </c:pt>
                <c:pt idx="5">
                  <c:v>1.8882348219866989E-2</c:v>
                </c:pt>
                <c:pt idx="8">
                  <c:v>7.9747482769148073E-2</c:v>
                </c:pt>
                <c:pt idx="9">
                  <c:v>5.15153874663759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8">
                  <c:v>4.876471996844424E-2</c:v>
                </c:pt>
                <c:pt idx="9">
                  <c:v>4.69606592107808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2">
                  <c:v>1.7385153119181269E-2</c:v>
                </c:pt>
                <c:pt idx="3">
                  <c:v>2.5218849052407039E-2</c:v>
                </c:pt>
                <c:pt idx="4">
                  <c:v>5.3756280025725276E-5</c:v>
                </c:pt>
                <c:pt idx="6">
                  <c:v>8.9757687778646202E-3</c:v>
                </c:pt>
                <c:pt idx="7">
                  <c:v>3.3147445495370527E-2</c:v>
                </c:pt>
                <c:pt idx="8">
                  <c:v>1.3736631691866025E-2</c:v>
                </c:pt>
                <c:pt idx="9">
                  <c:v>1.8856131695608291E-2</c:v>
                </c:pt>
                <c:pt idx="10">
                  <c:v>3.904111863345250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29509999999999997</c:v>
                </c:pt>
                <c:pt idx="4">
                  <c:v>0.2591</c:v>
                </c:pt>
                <c:pt idx="6">
                  <c:v>9.8100000000000007E-2</c:v>
                </c:pt>
                <c:pt idx="7">
                  <c:v>0.32700000000000001</c:v>
                </c:pt>
                <c:pt idx="10">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0.17813299245834574</c:v>
                </c:pt>
                <c:pt idx="5">
                  <c:v>0.21442455324174367</c:v>
                </c:pt>
                <c:pt idx="7">
                  <c:v>1.1509498510208325E-2</c:v>
                </c:pt>
                <c:pt idx="8">
                  <c:v>0.3229479643269409</c:v>
                </c:pt>
                <c:pt idx="9">
                  <c:v>0.18285423394799405</c:v>
                </c:pt>
                <c:pt idx="10">
                  <c:v>4.182120246519808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2">
                  <c:v>8.5517319788469048E-2</c:v>
                </c:pt>
                <c:pt idx="3">
                  <c:v>7.5099891325612428E-2</c:v>
                </c:pt>
                <c:pt idx="5">
                  <c:v>2.8439093690432658E-2</c:v>
                </c:pt>
                <c:pt idx="8">
                  <c:v>9.4755564569076856E-2</c:v>
                </c:pt>
                <c:pt idx="9">
                  <c:v>5.982980832951794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3">
                  <c:v>9.6280795771019693E-6</c:v>
                </c:pt>
                <c:pt idx="5">
                  <c:v>0.14542215544022347</c:v>
                </c:pt>
                <c:pt idx="7">
                  <c:v>1.1509498510208325E-2</c:v>
                </c:pt>
                <c:pt idx="8">
                  <c:v>2.0690128452921253E-5</c:v>
                </c:pt>
                <c:pt idx="9">
                  <c:v>7.9819647632772758E-2</c:v>
                </c:pt>
                <c:pt idx="10">
                  <c:v>4.182120246519808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3">
                  <c:v>5.9352859898126727E-2</c:v>
                </c:pt>
                <c:pt idx="5">
                  <c:v>4.056330411108755E-2</c:v>
                </c:pt>
                <c:pt idx="8">
                  <c:v>9.1037794309395265E-2</c:v>
                </c:pt>
                <c:pt idx="9">
                  <c:v>4.32396029543864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3">
                  <c:v>4.3670613155029493E-2</c:v>
                </c:pt>
                <c:pt idx="8">
                  <c:v>7.1197190239585539E-2</c:v>
                </c:pt>
                <c:pt idx="9">
                  <c:v>1.0948253169328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8">
                  <c:v>6.5936725080430317E-2</c:v>
                </c:pt>
                <c:pt idx="9">
                  <c:v>4.28637493585548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5548079169897273E-2</c:v>
                </c:pt>
                <c:pt idx="3">
                  <c:v>4.2169192354775738E-2</c:v>
                </c:pt>
                <c:pt idx="5">
                  <c:v>7.586484225238363E-2</c:v>
                </c:pt>
                <c:pt idx="6">
                  <c:v>0.23572846538239825</c:v>
                </c:pt>
                <c:pt idx="7">
                  <c:v>9.2131775395986173E-2</c:v>
                </c:pt>
                <c:pt idx="8">
                  <c:v>0.46044242473977526</c:v>
                </c:pt>
                <c:pt idx="9">
                  <c:v>5.260292959458459E-2</c:v>
                </c:pt>
                <c:pt idx="10">
                  <c:v>5.494673503404328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2">
                  <c:v>1.614172168225475E-2</c:v>
                </c:pt>
                <c:pt idx="3">
                  <c:v>4.2149154401220919E-2</c:v>
                </c:pt>
                <c:pt idx="6">
                  <c:v>8.9580346546279041E-2</c:v>
                </c:pt>
                <c:pt idx="8">
                  <c:v>0.1482451232902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5">
                  <c:v>7.5741427455061003E-2</c:v>
                </c:pt>
                <c:pt idx="6">
                  <c:v>5.5174178967168346E-3</c:v>
                </c:pt>
                <c:pt idx="7">
                  <c:v>9.0371387962898037E-2</c:v>
                </c:pt>
                <c:pt idx="8">
                  <c:v>1.552706232054173E-2</c:v>
                </c:pt>
                <c:pt idx="10">
                  <c:v>5.18647696076496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2">
                  <c:v>1.5767466266459945E-2</c:v>
                </c:pt>
                <c:pt idx="6">
                  <c:v>4.8097971929081482E-2</c:v>
                </c:pt>
                <c:pt idx="8">
                  <c:v>8.750009569810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2">
                  <c:v>3.6388912211825822E-3</c:v>
                </c:pt>
                <c:pt idx="3">
                  <c:v>2.0037953554815927E-5</c:v>
                </c:pt>
                <c:pt idx="5">
                  <c:v>9.2532729010320891E-2</c:v>
                </c:pt>
                <c:pt idx="6">
                  <c:v>1.2341479732262271E-4</c:v>
                </c:pt>
                <c:pt idx="7">
                  <c:v>1.7603874330881404E-3</c:v>
                </c:pt>
                <c:pt idx="8">
                  <c:v>0.20917014343089338</c:v>
                </c:pt>
                <c:pt idx="9">
                  <c:v>3.081965426393633E-4</c:v>
                </c:pt>
                <c:pt idx="10">
                  <c:v>5.2602929594584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2878102429301417E-3</c:v>
                </c:pt>
                <c:pt idx="1">
                  <c:v>2.0023523609660875E-2</c:v>
                </c:pt>
                <c:pt idx="2">
                  <c:v>1.3723429107454667E-2</c:v>
                </c:pt>
                <c:pt idx="3">
                  <c:v>4.7938782731616891E-2</c:v>
                </c:pt>
                <c:pt idx="4">
                  <c:v>7.1293444664093722E-2</c:v>
                </c:pt>
                <c:pt idx="5">
                  <c:v>0.1656881657217858</c:v>
                </c:pt>
                <c:pt idx="6">
                  <c:v>5.9864438195894244E-2</c:v>
                </c:pt>
                <c:pt idx="7">
                  <c:v>0.16391615246101154</c:v>
                </c:pt>
                <c:pt idx="8">
                  <c:v>0.26091603865744672</c:v>
                </c:pt>
                <c:pt idx="9">
                  <c:v>8.6862495206883369E-2</c:v>
                </c:pt>
                <c:pt idx="10">
                  <c:v>0.1052816373234158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7204326300153358E-2</c:v>
                </c:pt>
                <c:pt idx="3">
                  <c:v>4.8559042899347739E-2</c:v>
                </c:pt>
                <c:pt idx="5">
                  <c:v>0.19112282846997233</c:v>
                </c:pt>
                <c:pt idx="6">
                  <c:v>5.5063914531849847E-2</c:v>
                </c:pt>
                <c:pt idx="7">
                  <c:v>0.52433907962076154</c:v>
                </c:pt>
                <c:pt idx="8">
                  <c:v>7.6815138517167758E-2</c:v>
                </c:pt>
                <c:pt idx="9">
                  <c:v>5.68610777085616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2">
                  <c:v>1.7737478640480985E-2</c:v>
                </c:pt>
                <c:pt idx="3">
                  <c:v>4.8556042232930072E-2</c:v>
                </c:pt>
                <c:pt idx="5">
                  <c:v>4.9426808655054784E-2</c:v>
                </c:pt>
                <c:pt idx="7">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2">
                  <c:v>1.8031779956883459E-2</c:v>
                </c:pt>
                <c:pt idx="5">
                  <c:v>3.9118744057247593E-2</c:v>
                </c:pt>
                <c:pt idx="7">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6">
                  <c:v>5.5054676525125794E-2</c:v>
                </c:pt>
                <c:pt idx="8">
                  <c:v>7.4612851658717824E-2</c:v>
                </c:pt>
                <c:pt idx="10">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2">
                  <c:v>1.1435067702788914E-2</c:v>
                </c:pt>
                <c:pt idx="3">
                  <c:v>3.0006664176675462E-6</c:v>
                </c:pt>
                <c:pt idx="5">
                  <c:v>0.10257727575766995</c:v>
                </c:pt>
                <c:pt idx="6">
                  <c:v>9.2380067240551424E-6</c:v>
                </c:pt>
                <c:pt idx="7">
                  <c:v>2.2022868584499339E-3</c:v>
                </c:pt>
                <c:pt idx="8">
                  <c:v>0.23969019906151293</c:v>
                </c:pt>
                <c:pt idx="9">
                  <c:v>3.2636461711260503E-5</c:v>
                </c:pt>
                <c:pt idx="10">
                  <c:v>5.68610777085616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0326372359036796E-2</c:v>
                </c:pt>
                <c:pt idx="3">
                  <c:v>7.2599537803512179E-2</c:v>
                </c:pt>
                <c:pt idx="5">
                  <c:v>0.29716697751487675</c:v>
                </c:pt>
                <c:pt idx="7">
                  <c:v>9.1082501661220183E-4</c:v>
                </c:pt>
                <c:pt idx="8">
                  <c:v>0.55832536105652275</c:v>
                </c:pt>
                <c:pt idx="9">
                  <c:v>4.99855733585586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9.4798148634116057E-3</c:v>
                </c:pt>
                <c:pt idx="3">
                  <c:v>7.2599537803512179E-2</c:v>
                </c:pt>
                <c:pt idx="5">
                  <c:v>9.908005973942835E-2</c:v>
                </c:pt>
                <c:pt idx="8">
                  <c:v>0.15379720625932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5">
                  <c:v>3.7465906228928772E-2</c:v>
                </c:pt>
                <c:pt idx="8">
                  <c:v>0.105436135671197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2">
                  <c:v>1.0815940222649742E-2</c:v>
                </c:pt>
                <c:pt idx="5">
                  <c:v>5.1972548894969002E-2</c:v>
                </c:pt>
                <c:pt idx="8">
                  <c:v>7.98482548892637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0617272975446421E-5</c:v>
                </c:pt>
                <c:pt idx="5">
                  <c:v>6.7606668752889304E-5</c:v>
                </c:pt>
                <c:pt idx="6">
                  <c:v>0.10864846265155065</c:v>
                </c:pt>
                <c:pt idx="7">
                  <c:v>9.1082501661220183E-4</c:v>
                </c:pt>
                <c:pt idx="8">
                  <c:v>0.21924376423674052</c:v>
                </c:pt>
                <c:pt idx="9">
                  <c:v>4.9985573358558646E-2</c:v>
                </c:pt>
                <c:pt idx="10">
                  <c:v>4.998619502907591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132416561429879E-3</c:v>
                </c:pt>
                <c:pt idx="1">
                  <c:v>7.082202882835808E-3</c:v>
                </c:pt>
                <c:pt idx="2">
                  <c:v>2.0858669724864447E-3</c:v>
                </c:pt>
                <c:pt idx="3">
                  <c:v>5.5909517785081346E-2</c:v>
                </c:pt>
                <c:pt idx="4">
                  <c:v>3.9969470512073363E-2</c:v>
                </c:pt>
                <c:pt idx="5">
                  <c:v>4.1671457423834685E-2</c:v>
                </c:pt>
                <c:pt idx="6">
                  <c:v>8.5141350822573972E-2</c:v>
                </c:pt>
                <c:pt idx="7">
                  <c:v>0.18311481008226255</c:v>
                </c:pt>
                <c:pt idx="8">
                  <c:v>0.20000586803223158</c:v>
                </c:pt>
                <c:pt idx="9">
                  <c:v>0.20650588387134461</c:v>
                </c:pt>
                <c:pt idx="10">
                  <c:v>0.175500329959132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9487915336276094E-3</c:v>
                </c:pt>
                <c:pt idx="1">
                  <c:v>7.0813147290244606E-3</c:v>
                </c:pt>
                <c:pt idx="3">
                  <c:v>5.5626198939646043E-2</c:v>
                </c:pt>
                <c:pt idx="4">
                  <c:v>3.9572980887611639E-3</c:v>
                </c:pt>
                <c:pt idx="5">
                  <c:v>3.9297446710332792E-2</c:v>
                </c:pt>
                <c:pt idx="6">
                  <c:v>5.4505222267807454E-3</c:v>
                </c:pt>
                <c:pt idx="7">
                  <c:v>2.4879133312688644E-2</c:v>
                </c:pt>
                <c:pt idx="8">
                  <c:v>0.19521391185656495</c:v>
                </c:pt>
                <c:pt idx="9">
                  <c:v>0.20165431703224487</c:v>
                </c:pt>
                <c:pt idx="10">
                  <c:v>3.00105285527450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sa Azzur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4">
                  <c:v>8.0315571529386721E-3</c:v>
                </c:pt>
                <c:pt idx="6">
                  <c:v>1.1385012787671881E-2</c:v>
                </c:pt>
                <c:pt idx="7">
                  <c:v>2.4798644373535281E-2</c:v>
                </c:pt>
                <c:pt idx="10">
                  <c:v>4.46982412052161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2">
                  <c:v>1.3211287943793168E-6</c:v>
                </c:pt>
                <c:pt idx="6">
                  <c:v>2.5835857039041159E-2</c:v>
                </c:pt>
                <c:pt idx="7">
                  <c:v>4.4351648061875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1.0644501225153785E-3</c:v>
                </c:pt>
                <c:pt idx="1">
                  <c:v>2.862075657067125E-6</c:v>
                </c:pt>
                <c:pt idx="3">
                  <c:v>2.83318845435305E-4</c:v>
                </c:pt>
                <c:pt idx="4">
                  <c:v>2.7980615270373529E-2</c:v>
                </c:pt>
                <c:pt idx="5">
                  <c:v>2.3740107135018949E-3</c:v>
                </c:pt>
                <c:pt idx="6">
                  <c:v>4.2469958769080191E-2</c:v>
                </c:pt>
                <c:pt idx="7">
                  <c:v>2.8810532836310913E-2</c:v>
                </c:pt>
                <c:pt idx="8">
                  <c:v>6.506680767351837E-2</c:v>
                </c:pt>
                <c:pt idx="9">
                  <c:v>4.8515668390997305E-3</c:v>
                </c:pt>
                <c:pt idx="10">
                  <c:v>0.1007915602011713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4975365598015995E-3</c:v>
                </c:pt>
                <c:pt idx="1">
                  <c:v>1.6379025521232942E-3</c:v>
                </c:pt>
                <c:pt idx="2">
                  <c:v>1.0219016343389E-3</c:v>
                </c:pt>
                <c:pt idx="3">
                  <c:v>5.4936688578910986E-2</c:v>
                </c:pt>
                <c:pt idx="4">
                  <c:v>3.1573981954397423E-2</c:v>
                </c:pt>
                <c:pt idx="5">
                  <c:v>3.3815989888744687E-2</c:v>
                </c:pt>
                <c:pt idx="6">
                  <c:v>9.5925986929385865E-2</c:v>
                </c:pt>
                <c:pt idx="7">
                  <c:v>0.2663326767582046</c:v>
                </c:pt>
                <c:pt idx="8">
                  <c:v>0.1653838562857024</c:v>
                </c:pt>
                <c:pt idx="9">
                  <c:v>0.18836265015202369</c:v>
                </c:pt>
                <c:pt idx="10">
                  <c:v>0.158510828706366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4">
                  <c:v>8.5349158368287267E-3</c:v>
                </c:pt>
                <c:pt idx="5">
                  <c:v>2.0579282678446667E-3</c:v>
                </c:pt>
                <c:pt idx="8">
                  <c:v>9.3310180115548213E-3</c:v>
                </c:pt>
                <c:pt idx="10">
                  <c:v>6.357870587301926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3.6729726484407787E-6</c:v>
                </c:pt>
                <c:pt idx="2">
                  <c:v>9.7136516272242276E-3</c:v>
                </c:pt>
                <c:pt idx="3">
                  <c:v>4.2992807337090502E-2</c:v>
                </c:pt>
                <c:pt idx="6">
                  <c:v>5.7954929570050925E-2</c:v>
                </c:pt>
                <c:pt idx="7">
                  <c:v>0.15777279699652327</c:v>
                </c:pt>
                <c:pt idx="9">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4.1822314328258191E-6</c:v>
                </c:pt>
                <c:pt idx="1">
                  <c:v>4.5743156296532397E-6</c:v>
                </c:pt>
                <c:pt idx="4">
                  <c:v>5.5932523229095844E-3</c:v>
                </c:pt>
                <c:pt idx="5">
                  <c:v>7.7629831741438445E-3</c:v>
                </c:pt>
                <c:pt idx="8">
                  <c:v>2.4335210428163334E-2</c:v>
                </c:pt>
                <c:pt idx="10">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2.3709601785048481E-3</c:v>
                </c:pt>
                <c:pt idx="4">
                  <c:v>6.4904626465531858E-3</c:v>
                </c:pt>
                <c:pt idx="5">
                  <c:v>6.6068575724320573E-3</c:v>
                </c:pt>
                <c:pt idx="8">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4.279955038848874E-3</c:v>
                </c:pt>
                <c:pt idx="1">
                  <c:v>5.2438692498171045E-3</c:v>
                </c:pt>
                <c:pt idx="2">
                  <c:v>1.6413897345939708E-2</c:v>
                </c:pt>
                <c:pt idx="3">
                  <c:v>4.9459753945263855E-3</c:v>
                </c:pt>
                <c:pt idx="4">
                  <c:v>5.0674813857802217E-2</c:v>
                </c:pt>
                <c:pt idx="5">
                  <c:v>0.14926039670736524</c:v>
                </c:pt>
                <c:pt idx="7">
                  <c:v>6.1433554644882669E-3</c:v>
                </c:pt>
                <c:pt idx="8">
                  <c:v>0.20300675760267931</c:v>
                </c:pt>
                <c:pt idx="9">
                  <c:v>4.3053323504849104E-3</c:v>
                </c:pt>
                <c:pt idx="10">
                  <c:v>9.78908457065040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1.6379025521232942E-3</c:v>
                </c:pt>
                <c:pt idx="3">
                  <c:v>5.4935686849600637E-2</c:v>
                </c:pt>
                <c:pt idx="5">
                  <c:v>3.0131992612146163E-2</c:v>
                </c:pt>
                <c:pt idx="7">
                  <c:v>0.25750047951529925</c:v>
                </c:pt>
                <c:pt idx="9">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2">
                  <c:v>6.7867160776327196E-6</c:v>
                </c:pt>
                <c:pt idx="6">
                  <c:v>2.6903631912361108E-2</c:v>
                </c:pt>
                <c:pt idx="8">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4">
                  <c:v>5.5441960843052385E-3</c:v>
                </c:pt>
                <c:pt idx="6">
                  <c:v>1.2007729243185742E-2</c:v>
                </c:pt>
                <c:pt idx="8">
                  <c:v>3.2367602000523556E-2</c:v>
                </c:pt>
                <c:pt idx="10">
                  <c:v>4.40444725741165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2">
                  <c:v>1.0151149182612673E-3</c:v>
                </c:pt>
                <c:pt idx="3">
                  <c:v>2.0159727241129542E-2</c:v>
                </c:pt>
                <c:pt idx="5">
                  <c:v>1.8604292054480952E-2</c:v>
                </c:pt>
                <c:pt idx="7">
                  <c:v>8.832197242905359E-3</c:v>
                </c:pt>
                <c:pt idx="8">
                  <c:v>8.5016879264095596E-2</c:v>
                </c:pt>
                <c:pt idx="9">
                  <c:v>8.835239995685553E-3</c:v>
                </c:pt>
                <c:pt idx="10">
                  <c:v>0.1144663561322500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5.0815776284355207E-4</c:v>
                </c:pt>
                <c:pt idx="3">
                  <c:v>1.017348439062198E-3</c:v>
                </c:pt>
                <c:pt idx="4">
                  <c:v>8.2295467613508672E-2</c:v>
                </c:pt>
                <c:pt idx="6">
                  <c:v>0.1301013877493945</c:v>
                </c:pt>
                <c:pt idx="7">
                  <c:v>0.37290792522911043</c:v>
                </c:pt>
                <c:pt idx="8">
                  <c:v>1.3576844917299524E-2</c:v>
                </c:pt>
                <c:pt idx="9">
                  <c:v>0.39240664061433561</c:v>
                </c:pt>
                <c:pt idx="10">
                  <c:v>6.266275843114206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4">
                  <c:v>3.1739914264271918E-2</c:v>
                </c:pt>
                <c:pt idx="6">
                  <c:v>4.3716402377673984E-2</c:v>
                </c:pt>
                <c:pt idx="7">
                  <c:v>0.19798381364191134</c:v>
                </c:pt>
                <c:pt idx="9">
                  <c:v>0.24070235046383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4">
                  <c:v>4.0702129634083491E-2</c:v>
                </c:pt>
                <c:pt idx="6">
                  <c:v>3.0382577045142214E-2</c:v>
                </c:pt>
                <c:pt idx="7">
                  <c:v>7.0619147688679121E-2</c:v>
                </c:pt>
                <c:pt idx="9">
                  <c:v>6.1253348130826599E-2</c:v>
                </c:pt>
                <c:pt idx="10">
                  <c:v>3.6668424815829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6">
                  <c:v>3.9618211708881627E-2</c:v>
                </c:pt>
                <c:pt idx="7">
                  <c:v>5.42016663279126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2">
                  <c:v>5.0815776284355207E-4</c:v>
                </c:pt>
                <c:pt idx="3">
                  <c:v>9.8534237151532648E-3</c:v>
                </c:pt>
                <c:pt idx="4">
                  <c:v>1.017348439062198E-3</c:v>
                </c:pt>
                <c:pt idx="5">
                  <c:v>4.5857792083905052E-4</c:v>
                </c:pt>
                <c:pt idx="6">
                  <c:v>1.6384196617696661E-2</c:v>
                </c:pt>
                <c:pt idx="7">
                  <c:v>1.3576844917299524E-2</c:v>
                </c:pt>
                <c:pt idx="8">
                  <c:v>5.010329757060733E-2</c:v>
                </c:pt>
                <c:pt idx="9">
                  <c:v>9.0450942019669425E-2</c:v>
                </c:pt>
                <c:pt idx="10">
                  <c:v>2.59943336153127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797037320037875E-2</c:v>
                </c:pt>
                <c:pt idx="1">
                  <c:v>4.5156781419718517E-2</c:v>
                </c:pt>
                <c:pt idx="2">
                  <c:v>2.1124239287706442E-2</c:v>
                </c:pt>
                <c:pt idx="3">
                  <c:v>7.4020895482192761E-2</c:v>
                </c:pt>
                <c:pt idx="4">
                  <c:v>0.13820454776849406</c:v>
                </c:pt>
                <c:pt idx="5">
                  <c:v>0.34672443505720385</c:v>
                </c:pt>
                <c:pt idx="6">
                  <c:v>0.14139907863558362</c:v>
                </c:pt>
                <c:pt idx="7">
                  <c:v>0.13967776059534132</c:v>
                </c:pt>
                <c:pt idx="8">
                  <c:v>6.7398654515112802E-2</c:v>
                </c:pt>
                <c:pt idx="9">
                  <c:v>8.2218136030333313E-3</c:v>
                </c:pt>
                <c:pt idx="10">
                  <c:v>1.27475631557531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0">
                  <c:v>2.0238617619303347E-6</c:v>
                </c:pt>
                <c:pt idx="1">
                  <c:v>4.5156781419718517E-2</c:v>
                </c:pt>
                <c:pt idx="2">
                  <c:v>7.7398376706354953E-3</c:v>
                </c:pt>
                <c:pt idx="3">
                  <c:v>7.3947989235322156E-2</c:v>
                </c:pt>
                <c:pt idx="4">
                  <c:v>9.8064467660807352E-3</c:v>
                </c:pt>
                <c:pt idx="5">
                  <c:v>1.2902908038393035E-2</c:v>
                </c:pt>
                <c:pt idx="6">
                  <c:v>0.13706300878029487</c:v>
                </c:pt>
                <c:pt idx="7">
                  <c:v>8.0534417968524744E-3</c:v>
                </c:pt>
                <c:pt idx="8">
                  <c:v>6.7098036835201547E-2</c:v>
                </c:pt>
                <c:pt idx="9">
                  <c:v>5.3849564520267726E-4</c:v>
                </c:pt>
                <c:pt idx="10">
                  <c:v>1.267709903540859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5">
                  <c:v>8.8618861954467054E-2</c:v>
                </c:pt>
                <c:pt idx="7">
                  <c:v>6.7762173818584862E-2</c:v>
                </c:pt>
                <c:pt idx="9">
                  <c:v>2.3950582476859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3.854849497948708E-4</c:v>
                </c:pt>
                <c:pt idx="4">
                  <c:v>7.5135480004825964E-2</c:v>
                </c:pt>
                <c:pt idx="5">
                  <c:v>3.5992839927888994E-2</c:v>
                </c:pt>
                <c:pt idx="7">
                  <c:v>1.75277424898740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6795013458275946E-2</c:v>
                </c:pt>
                <c:pt idx="1">
                  <c:v>1.2998916667276076E-2</c:v>
                </c:pt>
                <c:pt idx="3">
                  <c:v>7.2906246870603749E-5</c:v>
                </c:pt>
                <c:pt idx="4">
                  <c:v>5.326262099758737E-2</c:v>
                </c:pt>
                <c:pt idx="5">
                  <c:v>4.336069855288757E-3</c:v>
                </c:pt>
                <c:pt idx="6">
                  <c:v>0.20920982513645484</c:v>
                </c:pt>
                <c:pt idx="7">
                  <c:v>3.0061767991125879E-4</c:v>
                </c:pt>
                <c:pt idx="8">
                  <c:v>4.6334402490029986E-2</c:v>
                </c:pt>
                <c:pt idx="9">
                  <c:v>7.0464120344541149E-6</c:v>
                </c:pt>
                <c:pt idx="10">
                  <c:v>5.288259710144677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30936481089647E-2</c:v>
                </c:pt>
                <c:pt idx="1">
                  <c:v>3.2843822305474016E-2</c:v>
                </c:pt>
                <c:pt idx="2">
                  <c:v>1.304152019254488E-2</c:v>
                </c:pt>
                <c:pt idx="3">
                  <c:v>6.3976002158169454E-2</c:v>
                </c:pt>
                <c:pt idx="4">
                  <c:v>0.12726869045828998</c:v>
                </c:pt>
                <c:pt idx="5">
                  <c:v>0.14107703973711477</c:v>
                </c:pt>
                <c:pt idx="6">
                  <c:v>0.36236006541336901</c:v>
                </c:pt>
                <c:pt idx="7">
                  <c:v>0.1607814740415261</c:v>
                </c:pt>
                <c:pt idx="8">
                  <c:v>7.1788863020120317E-2</c:v>
                </c:pt>
                <c:pt idx="9">
                  <c:v>1.17228640821703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1">
                  <c:v>3.2843822305474016E-2</c:v>
                </c:pt>
                <c:pt idx="3">
                  <c:v>6.3974896538575313E-2</c:v>
                </c:pt>
                <c:pt idx="5">
                  <c:v>0.14093418959066523</c:v>
                </c:pt>
                <c:pt idx="8">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6">
                  <c:v>8.3921297738606626E-2</c:v>
                </c:pt>
                <c:pt idx="7">
                  <c:v>8.2993007242709221E-2</c:v>
                </c:pt>
                <c:pt idx="9">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8.3154878141065264E-4</c:v>
                </c:pt>
                <c:pt idx="4">
                  <c:v>7.4036116742946231E-2</c:v>
                </c:pt>
                <c:pt idx="6">
                  <c:v>4.9380779319311785E-2</c:v>
                </c:pt>
                <c:pt idx="7">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5130936481089645E-2</c:v>
                </c:pt>
                <c:pt idx="1">
                  <c:v>1.2209971411134227E-2</c:v>
                </c:pt>
                <c:pt idx="3">
                  <c:v>1.1056195941344178E-6</c:v>
                </c:pt>
                <c:pt idx="4">
                  <c:v>5.3232573715343741E-2</c:v>
                </c:pt>
                <c:pt idx="5">
                  <c:v>1.4285014644955247E-4</c:v>
                </c:pt>
                <c:pt idx="6">
                  <c:v>0.22905798835545063</c:v>
                </c:pt>
                <c:pt idx="7">
                  <c:v>7.5001957356170355E-4</c:v>
                </c:pt>
                <c:pt idx="8">
                  <c:v>6.3161242415040092E-2</c:v>
                </c:pt>
                <c:pt idx="9">
                  <c:v>8.7221101315048514E-6</c:v>
                </c:pt>
                <c:pt idx="10">
                  <c:v>8.11924033614766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4410000000000001</c:v>
                </c:pt>
                <c:pt idx="5">
                  <c:v>0.16689999999999999</c:v>
                </c:pt>
                <c:pt idx="8">
                  <c:v>0.37459999999999999</c:v>
                </c:pt>
                <c:pt idx="9">
                  <c:v>0.21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62381599003958E-2</c:v>
                </c:pt>
                <c:pt idx="1">
                  <c:v>6.7529882543703984E-2</c:v>
                </c:pt>
                <c:pt idx="4">
                  <c:v>0.22654494927316576</c:v>
                </c:pt>
                <c:pt idx="5">
                  <c:v>9.6450797587259059E-3</c:v>
                </c:pt>
                <c:pt idx="6">
                  <c:v>0.46446442441784896</c:v>
                </c:pt>
                <c:pt idx="7">
                  <c:v>0.18869362275035395</c:v>
                </c:pt>
                <c:pt idx="9">
                  <c:v>1.38353036387650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0.10713691627244884</c:v>
                </c:pt>
                <c:pt idx="7">
                  <c:v>6.8946896404207661E-2</c:v>
                </c:pt>
                <c:pt idx="9">
                  <c:v>3.25160080534018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5.5333232533177838E-2</c:v>
                </c:pt>
                <c:pt idx="4">
                  <c:v>7.0107424510208904E-2</c:v>
                </c:pt>
                <c:pt idx="6">
                  <c:v>9.2244802582413174E-2</c:v>
                </c:pt>
                <c:pt idx="7">
                  <c:v>5.7574974938621626E-2</c:v>
                </c:pt>
                <c:pt idx="9">
                  <c:v>3.849721919379649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1897722085289953E-2</c:v>
                </c:pt>
                <c:pt idx="4">
                  <c:v>4.9725030197845625E-2</c:v>
                </c:pt>
                <c:pt idx="6">
                  <c:v>8.697601703860236E-2</c:v>
                </c:pt>
                <c:pt idx="7">
                  <c:v>2.3761273400165282E-2</c:v>
                </c:pt>
                <c:pt idx="9">
                  <c:v>6.68690868832230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9262381599003958E-2</c:v>
                </c:pt>
                <c:pt idx="1">
                  <c:v>2.9892792523618708E-4</c:v>
                </c:pt>
                <c:pt idx="4">
                  <c:v>0.10671249456511124</c:v>
                </c:pt>
                <c:pt idx="5">
                  <c:v>9.6450797587259059E-3</c:v>
                </c:pt>
                <c:pt idx="6">
                  <c:v>0.1781066885243846</c:v>
                </c:pt>
                <c:pt idx="7">
                  <c:v>3.8410478007359375E-2</c:v>
                </c:pt>
                <c:pt idx="8">
                  <c:v>2.435601843244183E-5</c:v>
                </c:pt>
                <c:pt idx="10">
                  <c:v>4.70722257228974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9285822814956487E-3</c:v>
                </c:pt>
                <c:pt idx="3">
                  <c:v>2.2585485283414204E-2</c:v>
                </c:pt>
                <c:pt idx="4">
                  <c:v>4.9044700492439267E-2</c:v>
                </c:pt>
                <c:pt idx="5">
                  <c:v>8.0784550457186646E-2</c:v>
                </c:pt>
                <c:pt idx="6">
                  <c:v>0.1013458714656256</c:v>
                </c:pt>
                <c:pt idx="7">
                  <c:v>0.36238716688551564</c:v>
                </c:pt>
                <c:pt idx="8">
                  <c:v>0.2209832421338763</c:v>
                </c:pt>
                <c:pt idx="9">
                  <c:v>8.8186583552568476E-2</c:v>
                </c:pt>
                <c:pt idx="10">
                  <c:v>6.8646178053328483E-2</c:v>
                </c:pt>
                <c:pt idx="11">
                  <c:v>3.77164383198322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1">
                  <c:v>8.7599463244546197E-5</c:v>
                </c:pt>
                <c:pt idx="3">
                  <c:v>1.6371102859530855E-2</c:v>
                </c:pt>
                <c:pt idx="4">
                  <c:v>6.7887822797473305E-3</c:v>
                </c:pt>
                <c:pt idx="5">
                  <c:v>7.8921068711268666E-2</c:v>
                </c:pt>
                <c:pt idx="6">
                  <c:v>1.1872066463548894E-2</c:v>
                </c:pt>
                <c:pt idx="7">
                  <c:v>2.3617717232306247E-2</c:v>
                </c:pt>
                <c:pt idx="8">
                  <c:v>0.21762327162468681</c:v>
                </c:pt>
                <c:pt idx="9">
                  <c:v>7.5866185645711934E-3</c:v>
                </c:pt>
                <c:pt idx="10">
                  <c:v>6.7446858698726922E-2</c:v>
                </c:pt>
                <c:pt idx="11">
                  <c:v>3.6279483654025491E-3</c:v>
                </c:pt>
                <c:pt idx="12">
                  <c:v>7.5638070828926284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2">
                  <c:v>3.4497032775931784E-4</c:v>
                </c:pt>
                <c:pt idx="4">
                  <c:v>3.5505788445723573E-2</c:v>
                </c:pt>
                <c:pt idx="6">
                  <c:v>4.8514440208670587E-2</c:v>
                </c:pt>
                <c:pt idx="7">
                  <c:v>0.14895993286776413</c:v>
                </c:pt>
                <c:pt idx="9">
                  <c:v>8.14046427328547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4">
                  <c:v>2.3927200276801803E-3</c:v>
                </c:pt>
                <c:pt idx="6">
                  <c:v>2.4115749724647358E-2</c:v>
                </c:pt>
                <c:pt idx="7">
                  <c:v>5.2993314390311158E-2</c:v>
                </c:pt>
                <c:pt idx="9">
                  <c:v>6.364195018978527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4">
                  <c:v>4.3574097392881806E-3</c:v>
                </c:pt>
                <c:pt idx="6">
                  <c:v>1.6843615068758758E-2</c:v>
                </c:pt>
                <c:pt idx="7">
                  <c:v>0.13681620239513415</c:v>
                </c:pt>
                <c:pt idx="8">
                  <c:v>3.35997050918948E-3</c:v>
                </c:pt>
                <c:pt idx="9">
                  <c:v>7.18230812128139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1026893100549375E-3</c:v>
                </c:pt>
                <c:pt idx="3">
                  <c:v>4.916947487787493E-2</c:v>
                </c:pt>
                <c:pt idx="4">
                  <c:v>4.3007935502443258E-2</c:v>
                </c:pt>
                <c:pt idx="5">
                  <c:v>8.8371883951689795E-2</c:v>
                </c:pt>
                <c:pt idx="6">
                  <c:v>5.5873027350611768E-2</c:v>
                </c:pt>
                <c:pt idx="7">
                  <c:v>0.36146768532776002</c:v>
                </c:pt>
                <c:pt idx="8">
                  <c:v>0.20540382508378988</c:v>
                </c:pt>
                <c:pt idx="9">
                  <c:v>0.10628330882040933</c:v>
                </c:pt>
                <c:pt idx="10">
                  <c:v>8.74389359460932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4">
                  <c:v>4.3007935502443258E-2</c:v>
                </c:pt>
                <c:pt idx="6">
                  <c:v>5.2165348389913241E-2</c:v>
                </c:pt>
                <c:pt idx="8">
                  <c:v>0.20214649925508837</c:v>
                </c:pt>
                <c:pt idx="9">
                  <c:v>0.103724412515582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2">
                  <c:v>3.0785858632611054E-5</c:v>
                </c:pt>
                <c:pt idx="3">
                  <c:v>3.7643461722091778E-2</c:v>
                </c:pt>
                <c:pt idx="5">
                  <c:v>5.2246089232947733E-2</c:v>
                </c:pt>
                <c:pt idx="7">
                  <c:v>0.16377976700594907</c:v>
                </c:pt>
                <c:pt idx="10">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6.761514813472729E-3</c:v>
                </c:pt>
                <c:pt idx="5">
                  <c:v>2.2774164980597478E-2</c:v>
                </c:pt>
                <c:pt idx="7">
                  <c:v>2.97416569034042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6">
                  <c:v>4.5059274606916904E-3</c:v>
                </c:pt>
                <c:pt idx="7">
                  <c:v>9.5431915435765638E-2</c:v>
                </c:pt>
                <c:pt idx="8">
                  <c:v>7.5771671811342561E-2</c:v>
                </c:pt>
                <c:pt idx="9">
                  <c:v>1.60806520341733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436449174607335E-3</c:v>
                </c:pt>
                <c:pt idx="1">
                  <c:v>2.9401906875188205E-2</c:v>
                </c:pt>
                <c:pt idx="4">
                  <c:v>0.12607359527604595</c:v>
                </c:pt>
                <c:pt idx="5">
                  <c:v>2.4578091213436752E-3</c:v>
                </c:pt>
                <c:pt idx="6">
                  <c:v>0.25213010765919697</c:v>
                </c:pt>
                <c:pt idx="7">
                  <c:v>0.39132364067278441</c:v>
                </c:pt>
                <c:pt idx="8">
                  <c:v>8.5521297241422135E-3</c:v>
                </c:pt>
                <c:pt idx="9">
                  <c:v>2.583863736266491E-3</c:v>
                </c:pt>
                <c:pt idx="10">
                  <c:v>0.17575172879192341</c:v>
                </c:pt>
                <c:pt idx="12">
                  <c:v>4.253105592017428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5553742015450741E-3</c:v>
                </c:pt>
                <c:pt idx="3">
                  <c:v>0.10056376439324646</c:v>
                </c:pt>
                <c:pt idx="5">
                  <c:v>0.20390060448269487</c:v>
                </c:pt>
                <c:pt idx="7">
                  <c:v>1.1403440221557173E-2</c:v>
                </c:pt>
                <c:pt idx="8">
                  <c:v>0.5480297958742949</c:v>
                </c:pt>
                <c:pt idx="9">
                  <c:v>0.10372738096186646</c:v>
                </c:pt>
                <c:pt idx="12">
                  <c:v>2.87023598520529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4.5815978632429484E-2</c:v>
                </c:pt>
                <c:pt idx="5">
                  <c:v>7.6385241605657572E-2</c:v>
                </c:pt>
                <c:pt idx="8">
                  <c:v>0.19863748728436206</c:v>
                </c:pt>
                <c:pt idx="9">
                  <c:v>3.43597467050027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3709339543574292E-2</c:v>
                </c:pt>
                <c:pt idx="5">
                  <c:v>9.3925668571629539E-2</c:v>
                </c:pt>
                <c:pt idx="8">
                  <c:v>0.18685064975207327</c:v>
                </c:pt>
                <c:pt idx="9">
                  <c:v>6.00227565615086E-2</c:v>
                </c:pt>
                <c:pt idx="12">
                  <c:v>2.87023598520529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2.6727910802191755E-2</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5553742015450741E-3</c:v>
                </c:pt>
                <c:pt idx="3">
                  <c:v>1.0384462172426975E-3</c:v>
                </c:pt>
                <c:pt idx="5">
                  <c:v>6.8617835032159964E-3</c:v>
                </c:pt>
                <c:pt idx="7">
                  <c:v>1.1403440221557173E-2</c:v>
                </c:pt>
                <c:pt idx="8">
                  <c:v>9.3091049364484021E-2</c:v>
                </c:pt>
                <c:pt idx="9">
                  <c:v>1.1728001274223003E-4</c:v>
                </c:pt>
                <c:pt idx="10">
                  <c:v>4.02686497298575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5.3856141960207543E-4</c:v>
                </c:pt>
                <c:pt idx="1">
                  <c:v>1.5620317363869789E-3</c:v>
                </c:pt>
                <c:pt idx="4">
                  <c:v>5.5489759458103149E-3</c:v>
                </c:pt>
                <c:pt idx="6">
                  <c:v>3.3668270305480336E-2</c:v>
                </c:pt>
                <c:pt idx="7">
                  <c:v>0.29686173713080344</c:v>
                </c:pt>
                <c:pt idx="8">
                  <c:v>0.59156903232339997</c:v>
                </c:pt>
                <c:pt idx="9">
                  <c:v>6.0845125112677659E-2</c:v>
                </c:pt>
                <c:pt idx="10">
                  <c:v>9.39993664733703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0">
                  <c:v>1.9993966973793626E-5</c:v>
                </c:pt>
                <c:pt idx="7">
                  <c:v>0.28963363594631669</c:v>
                </c:pt>
                <c:pt idx="8">
                  <c:v>3.462449710879878E-2</c:v>
                </c:pt>
                <c:pt idx="9">
                  <c:v>3.0561085175378738E-3</c:v>
                </c:pt>
                <c:pt idx="10">
                  <c:v>9.072845160635700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8">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6">
                  <c:v>9.3137540633138035E-4</c:v>
                </c:pt>
                <c:pt idx="8">
                  <c:v>0.16433112599937943</c:v>
                </c:pt>
                <c:pt idx="9">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0">
                  <c:v>5.185674526282818E-4</c:v>
                </c:pt>
                <c:pt idx="1">
                  <c:v>1.5620317363869789E-3</c:v>
                </c:pt>
                <c:pt idx="3">
                  <c:v>5.8141965310295576E-6</c:v>
                </c:pt>
                <c:pt idx="4">
                  <c:v>5.5489759458103149E-3</c:v>
                </c:pt>
                <c:pt idx="5">
                  <c:v>5.1518197110388487E-7</c:v>
                </c:pt>
                <c:pt idx="6">
                  <c:v>3.2736894899148959E-2</c:v>
                </c:pt>
                <c:pt idx="7">
                  <c:v>7.2281011844867625E-3</c:v>
                </c:pt>
                <c:pt idx="8">
                  <c:v>0.20961527780476349</c:v>
                </c:pt>
                <c:pt idx="9">
                  <c:v>3.2709148670133793E-4</c:v>
                </c:pt>
                <c:pt idx="10">
                  <c:v>4.07256990626828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450492937243368E-3</c:v>
                </c:pt>
                <c:pt idx="1">
                  <c:v>2.2320532191512647E-3</c:v>
                </c:pt>
                <c:pt idx="4">
                  <c:v>5.5221708815645486E-3</c:v>
                </c:pt>
                <c:pt idx="6">
                  <c:v>3.2054568203037939E-2</c:v>
                </c:pt>
                <c:pt idx="7">
                  <c:v>0.60939570637605789</c:v>
                </c:pt>
                <c:pt idx="8">
                  <c:v>0.23745240670836387</c:v>
                </c:pt>
                <c:pt idx="9">
                  <c:v>9.4823594225305452E-2</c:v>
                </c:pt>
                <c:pt idx="10">
                  <c:v>1.72744510927946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0">
                  <c:v>1.2784618550905057E-4</c:v>
                </c:pt>
                <c:pt idx="8">
                  <c:v>0.20313096092644092</c:v>
                </c:pt>
                <c:pt idx="10">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7">
                  <c:v>0.17623447649261598</c:v>
                </c:pt>
                <c:pt idx="9">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7">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1172031082152861E-3</c:v>
                </c:pt>
                <c:pt idx="1">
                  <c:v>2.2320532191512647E-3</c:v>
                </c:pt>
                <c:pt idx="4">
                  <c:v>5.5221708815645486E-3</c:v>
                </c:pt>
                <c:pt idx="6">
                  <c:v>3.2054568203037939E-2</c:v>
                </c:pt>
                <c:pt idx="7">
                  <c:v>3.4321445781922956E-2</c:v>
                </c:pt>
                <c:pt idx="8">
                  <c:v>0.26687961814932687</c:v>
                </c:pt>
                <c:pt idx="9">
                  <c:v>7.2111523286516003E-4</c:v>
                </c:pt>
                <c:pt idx="10">
                  <c:v>7.419078854899756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7239854391077266E-2</c:v>
                </c:pt>
                <c:pt idx="7">
                  <c:v>0.86683859195054513</c:v>
                </c:pt>
                <c:pt idx="10">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4">
                  <c:v>6.6637484493364783E-3</c:v>
                </c:pt>
                <c:pt idx="6">
                  <c:v>4.5541807982660476E-3</c:v>
                </c:pt>
                <c:pt idx="7">
                  <c:v>1.0225373496236092E-2</c:v>
                </c:pt>
                <c:pt idx="10">
                  <c:v>5.851497428834873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1">
                  <c:v>1.3193495949862291E-2</c:v>
                </c:pt>
                <c:pt idx="4">
                  <c:v>3.973502736905412E-2</c:v>
                </c:pt>
                <c:pt idx="6">
                  <c:v>5.5412948633868524E-2</c:v>
                </c:pt>
                <c:pt idx="7">
                  <c:v>0.13673428642229304</c:v>
                </c:pt>
                <c:pt idx="10">
                  <c:v>8.9370974016816415E-2</c:v>
                </c:pt>
                <c:pt idx="12">
                  <c:v>4.20633031981941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6.7116966970143218E-3</c:v>
                </c:pt>
                <c:pt idx="6">
                  <c:v>1.1189864084283716E-2</c:v>
                </c:pt>
                <c:pt idx="7">
                  <c:v>2.9098899709325752E-2</c:v>
                </c:pt>
                <c:pt idx="10">
                  <c:v>5.033444779611966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6">
                  <c:v>2.5545416492227292E-2</c:v>
                </c:pt>
                <c:pt idx="7">
                  <c:v>1.6439498594611503E-2</c:v>
                </c:pt>
                <c:pt idx="10">
                  <c:v>7.75302292887043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7.1436449174607335E-3</c:v>
                </c:pt>
                <c:pt idx="1">
                  <c:v>1.6208410925325913E-2</c:v>
                </c:pt>
                <c:pt idx="3">
                  <c:v>3.2846763363046964E-4</c:v>
                </c:pt>
                <c:pt idx="4">
                  <c:v>7.2963122760641028E-2</c:v>
                </c:pt>
                <c:pt idx="5">
                  <c:v>2.4578091213436752E-3</c:v>
                </c:pt>
                <c:pt idx="6">
                  <c:v>0.15542769765055139</c:v>
                </c:pt>
                <c:pt idx="7">
                  <c:v>0.19882558245031806</c:v>
                </c:pt>
                <c:pt idx="8">
                  <c:v>8.5521297241422135E-3</c:v>
                </c:pt>
                <c:pt idx="9">
                  <c:v>2.583863736266491E-3</c:v>
                </c:pt>
                <c:pt idx="10">
                  <c:v>7.9250610575423874E-2</c:v>
                </c:pt>
                <c:pt idx="11">
                  <c:v>4.677527219801615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7">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7">
                  <c:v>0.26279747884294907</c:v>
                </c:pt>
                <c:pt idx="10">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7">
                  <c:v>0.15900475742707917</c:v>
                </c:pt>
                <c:pt idx="10">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5">
                  <c:v>4.7239854391077266E-2</c:v>
                </c:pt>
                <c:pt idx="7">
                  <c:v>0.17733099961828863</c:v>
                </c:pt>
                <c:pt idx="10">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222901626161E-3</c:v>
                </c:pt>
                <c:pt idx="1">
                  <c:v>0.10369318788070768</c:v>
                </c:pt>
                <c:pt idx="4">
                  <c:v>1.3292401962814945E-2</c:v>
                </c:pt>
                <c:pt idx="6">
                  <c:v>0.39927586436066009</c:v>
                </c:pt>
                <c:pt idx="7">
                  <c:v>9.5854667596162132E-4</c:v>
                </c:pt>
                <c:pt idx="8">
                  <c:v>0.46448408106322292</c:v>
                </c:pt>
                <c:pt idx="10">
                  <c:v>1.67815965063652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3.0873767694925502E-2</c:v>
                </c:pt>
                <c:pt idx="4">
                  <c:v>6.9394030721051546E-3</c:v>
                </c:pt>
                <c:pt idx="6">
                  <c:v>0.15293693630104779</c:v>
                </c:pt>
                <c:pt idx="8">
                  <c:v>0.21729599671011116</c:v>
                </c:pt>
                <c:pt idx="10">
                  <c:v>9.31428620820762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1">
                  <c:v>4.5296979286805553E-2</c:v>
                </c:pt>
                <c:pt idx="6">
                  <c:v>8.96656825477472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9173592602168737E-3</c:v>
                </c:pt>
                <c:pt idx="6">
                  <c:v>6.2221177813062453E-2</c:v>
                </c:pt>
                <c:pt idx="8">
                  <c:v>8.5705392045626327E-3</c:v>
                </c:pt>
                <c:pt idx="10">
                  <c:v>2.749464498212148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4671222901626161E-3</c:v>
                </c:pt>
                <c:pt idx="1">
                  <c:v>2.3605081638759746E-2</c:v>
                </c:pt>
                <c:pt idx="4">
                  <c:v>6.352998890709791E-3</c:v>
                </c:pt>
                <c:pt idx="5">
                  <c:v>4.7199260104972445E-5</c:v>
                </c:pt>
                <c:pt idx="6">
                  <c:v>9.4452067698802586E-2</c:v>
                </c:pt>
                <c:pt idx="7">
                  <c:v>0.2386175451485491</c:v>
                </c:pt>
                <c:pt idx="8">
                  <c:v>9.5854667596162121E-4</c:v>
                </c:pt>
                <c:pt idx="10">
                  <c:v>7.19236384833643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38887234618E-3</c:v>
                </c:pt>
                <c:pt idx="1">
                  <c:v>0.10371095193438469</c:v>
                </c:pt>
                <c:pt idx="4">
                  <c:v>1.3285795569918612E-2</c:v>
                </c:pt>
                <c:pt idx="6">
                  <c:v>0.39936557319765603</c:v>
                </c:pt>
                <c:pt idx="7">
                  <c:v>9.4392691678762779E-4</c:v>
                </c:pt>
                <c:pt idx="8">
                  <c:v>0.46443195410199767</c:v>
                </c:pt>
                <c:pt idx="10">
                  <c:v>1.67507474712976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3.0882242148412248E-2</c:v>
                </c:pt>
                <c:pt idx="4">
                  <c:v>6.9385139832919447E-3</c:v>
                </c:pt>
                <c:pt idx="6">
                  <c:v>0.15297897896174137</c:v>
                </c:pt>
                <c:pt idx="8">
                  <c:v>0.21735550502655165</c:v>
                </c:pt>
                <c:pt idx="10">
                  <c:v>9.316789349780691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1">
                  <c:v>4.5309604154125105E-2</c:v>
                </c:pt>
                <c:pt idx="6">
                  <c:v>8.9690636213414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918349657996454E-3</c:v>
                </c:pt>
                <c:pt idx="6">
                  <c:v>6.2262511489209652E-2</c:v>
                </c:pt>
                <c:pt idx="8">
                  <c:v>8.572833875894293E-3</c:v>
                </c:pt>
                <c:pt idx="10">
                  <c:v>2.692475204473849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467138887234618E-3</c:v>
                </c:pt>
                <c:pt idx="1">
                  <c:v>2.3600755973850883E-2</c:v>
                </c:pt>
                <c:pt idx="4">
                  <c:v>6.3472815866266671E-3</c:v>
                </c:pt>
                <c:pt idx="5">
                  <c:v>4.3911920723197764E-5</c:v>
                </c:pt>
                <c:pt idx="6">
                  <c:v>9.443344653329018E-2</c:v>
                </c:pt>
                <c:pt idx="7">
                  <c:v>0.23850361519955171</c:v>
                </c:pt>
                <c:pt idx="8">
                  <c:v>9.4392691678762779E-4</c:v>
                </c:pt>
                <c:pt idx="10">
                  <c:v>7.16471060106952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2590000000000001</c:v>
                </c:pt>
                <c:pt idx="7">
                  <c:v>0.4103</c:v>
                </c:pt>
                <c:pt idx="8">
                  <c:v>1.9E-3</c:v>
                </c:pt>
                <c:pt idx="9">
                  <c:v>0.4451</c:v>
                </c:pt>
                <c:pt idx="10">
                  <c:v>1.67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323910850997956E-3</c:v>
                </c:pt>
                <c:pt idx="1">
                  <c:v>1.3260072235208328E-2</c:v>
                </c:pt>
                <c:pt idx="2">
                  <c:v>3.0029374209639585E-2</c:v>
                </c:pt>
                <c:pt idx="3">
                  <c:v>4.1537920103246036E-2</c:v>
                </c:pt>
                <c:pt idx="4">
                  <c:v>7.5562270831831257E-2</c:v>
                </c:pt>
                <c:pt idx="5">
                  <c:v>0.1831223576647234</c:v>
                </c:pt>
                <c:pt idx="6">
                  <c:v>6.1540284095095411E-2</c:v>
                </c:pt>
                <c:pt idx="7">
                  <c:v>0.12529305571168425</c:v>
                </c:pt>
                <c:pt idx="8">
                  <c:v>0.26794164527376069</c:v>
                </c:pt>
                <c:pt idx="9">
                  <c:v>7.3834885075368853E-2</c:v>
                </c:pt>
                <c:pt idx="10">
                  <c:v>0.11952001296739617</c:v>
                </c:pt>
                <c:pt idx="11">
                  <c:v>9.79246740074128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5">
                  <c:v>2.1341767559313139E-3</c:v>
                </c:pt>
                <c:pt idx="7">
                  <c:v>3.2311204711788105E-5</c:v>
                </c:pt>
                <c:pt idx="8">
                  <c:v>6.9532284664502939E-3</c:v>
                </c:pt>
                <c:pt idx="9">
                  <c:v>2.8491573356085535E-4</c:v>
                </c:pt>
                <c:pt idx="10">
                  <c:v>7.544106138754045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3.0947629348796581E-3</c:v>
                </c:pt>
                <c:pt idx="1">
                  <c:v>1.1499744564103737E-2</c:v>
                </c:pt>
                <c:pt idx="2">
                  <c:v>1.0875392449907319E-2</c:v>
                </c:pt>
                <c:pt idx="3">
                  <c:v>3.8551754364698841E-2</c:v>
                </c:pt>
                <c:pt idx="4">
                  <c:v>1.3322018353834533E-2</c:v>
                </c:pt>
                <c:pt idx="5">
                  <c:v>1.6020932131212778E-2</c:v>
                </c:pt>
                <c:pt idx="6">
                  <c:v>5.7226877087278027E-2</c:v>
                </c:pt>
                <c:pt idx="7">
                  <c:v>0.12168005598285377</c:v>
                </c:pt>
                <c:pt idx="8">
                  <c:v>4.2306663177648689E-2</c:v>
                </c:pt>
                <c:pt idx="9">
                  <c:v>7.1515029916798992E-2</c:v>
                </c:pt>
                <c:pt idx="10">
                  <c:v>1.8689465846655762E-2</c:v>
                </c:pt>
                <c:pt idx="11">
                  <c:v>8.9829674605075528E-4</c:v>
                </c:pt>
                <c:pt idx="12">
                  <c:v>9.9131995861775595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2.6593851703703411E-6</c:v>
                </c:pt>
                <c:pt idx="2">
                  <c:v>4.5212148761988093E-5</c:v>
                </c:pt>
                <c:pt idx="4">
                  <c:v>4.6534233815023309E-3</c:v>
                </c:pt>
                <c:pt idx="5">
                  <c:v>6.3583500124953715E-3</c:v>
                </c:pt>
                <c:pt idx="8">
                  <c:v>1.9697589348295005E-2</c:v>
                </c:pt>
                <c:pt idx="10">
                  <c:v>1.479045346915868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1.7287824213391823E-4</c:v>
                </c:pt>
                <c:pt idx="2">
                  <c:v>1.5732747109476709E-3</c:v>
                </c:pt>
                <c:pt idx="4">
                  <c:v>1.0067187740788349E-2</c:v>
                </c:pt>
                <c:pt idx="5">
                  <c:v>1.8507375338239738E-2</c:v>
                </c:pt>
                <c:pt idx="6">
                  <c:v>5.6816106113083506E-4</c:v>
                </c:pt>
                <c:pt idx="8">
                  <c:v>1.5755018322399821E-2</c:v>
                </c:pt>
                <c:pt idx="10">
                  <c:v>1.94716671005831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3.9620905229158492E-3</c:v>
                </c:pt>
                <c:pt idx="1">
                  <c:v>1.76032767110459E-3</c:v>
                </c:pt>
                <c:pt idx="2">
                  <c:v>1.7535494900022607E-2</c:v>
                </c:pt>
                <c:pt idx="3">
                  <c:v>2.9861657385472024E-3</c:v>
                </c:pt>
                <c:pt idx="4">
                  <c:v>4.7519641355706056E-2</c:v>
                </c:pt>
                <c:pt idx="5">
                  <c:v>2.6414271680896877E-2</c:v>
                </c:pt>
                <c:pt idx="6">
                  <c:v>0.11743249769263386</c:v>
                </c:pt>
                <c:pt idx="7">
                  <c:v>3.5806885241187036E-3</c:v>
                </c:pt>
                <c:pt idx="8">
                  <c:v>0.18322914595896686</c:v>
                </c:pt>
                <c:pt idx="9">
                  <c:v>2.0349394250090006E-3</c:v>
                </c:pt>
                <c:pt idx="10">
                  <c:v>8.9860228925012164E-2</c:v>
                </c:pt>
                <c:pt idx="11">
                  <c:v>8.09499940233731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1018</c:v>
                </c:pt>
                <c:pt idx="7">
                  <c:v>0.37690000000000001</c:v>
                </c:pt>
                <c:pt idx="8">
                  <c:v>7.4999999999999997E-3</c:v>
                </c:pt>
                <c:pt idx="9">
                  <c:v>2.92E-2</c:v>
                </c:pt>
                <c:pt idx="10">
                  <c:v>0.4845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0810000882490144E-3</c:v>
                </c:pt>
                <c:pt idx="1">
                  <c:v>1.9057746725806689E-2</c:v>
                </c:pt>
                <c:pt idx="2">
                  <c:v>1.3061519103123722E-2</c:v>
                </c:pt>
                <c:pt idx="3">
                  <c:v>6.7854811076461852E-2</c:v>
                </c:pt>
                <c:pt idx="4">
                  <c:v>4.5626593872910418E-2</c:v>
                </c:pt>
                <c:pt idx="5">
                  <c:v>5.9953586010787034E-2</c:v>
                </c:pt>
                <c:pt idx="6">
                  <c:v>0.17594240996402155</c:v>
                </c:pt>
                <c:pt idx="7">
                  <c:v>0.15629945053556907</c:v>
                </c:pt>
                <c:pt idx="8">
                  <c:v>0.25184260675323467</c:v>
                </c:pt>
                <c:pt idx="9">
                  <c:v>0.12010973641082048</c:v>
                </c:pt>
                <c:pt idx="10">
                  <c:v>8.5453909757794072E-2</c:v>
                </c:pt>
                <c:pt idx="11">
                  <c:v>5.86396562284361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6">
                  <c:v>2.3569573067529505E-3</c:v>
                </c:pt>
                <c:pt idx="7">
                  <c:v>1.7319523364726745E-4</c:v>
                </c:pt>
                <c:pt idx="8">
                  <c:v>8.724749571436376E-3</c:v>
                </c:pt>
                <c:pt idx="9">
                  <c:v>1.1216928527125136E-2</c:v>
                </c:pt>
                <c:pt idx="10">
                  <c:v>6.748514661496826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0">
                  <c:v>3.4958174110288519E-6</c:v>
                </c:pt>
                <c:pt idx="2">
                  <c:v>9.2451416695232998E-3</c:v>
                </c:pt>
                <c:pt idx="4">
                  <c:v>4.0919173330030652E-2</c:v>
                </c:pt>
                <c:pt idx="5">
                  <c:v>5.5159640769974413E-2</c:v>
                </c:pt>
                <c:pt idx="7">
                  <c:v>0.15016308138349577</c:v>
                </c:pt>
                <c:pt idx="10">
                  <c:v>8.0742727458019248E-2</c:v>
                </c:pt>
                <c:pt idx="11">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0">
                  <c:v>3.9805135674046311E-6</c:v>
                </c:pt>
                <c:pt idx="1">
                  <c:v>4.3536867143488152E-6</c:v>
                </c:pt>
                <c:pt idx="3">
                  <c:v>5.3234779363264184E-3</c:v>
                </c:pt>
                <c:pt idx="6">
                  <c:v>7.3885580806643007E-3</c:v>
                </c:pt>
                <c:pt idx="8">
                  <c:v>2.316147177190065E-2</c:v>
                </c:pt>
                <c:pt idx="9">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1">
                  <c:v>2.2566037556505814E-3</c:v>
                </c:pt>
                <c:pt idx="3">
                  <c:v>6.1774139088906594E-3</c:v>
                </c:pt>
                <c:pt idx="6">
                  <c:v>6.2881948613748833E-3</c:v>
                </c:pt>
                <c:pt idx="8">
                  <c:v>2.3073758924982701E-2</c:v>
                </c:pt>
                <c:pt idx="9">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0">
                  <c:v>4.0735237572705821E-3</c:v>
                </c:pt>
                <c:pt idx="1">
                  <c:v>4.990946347627017E-3</c:v>
                </c:pt>
                <c:pt idx="2">
                  <c:v>1.5622220369415166E-2</c:v>
                </c:pt>
                <c:pt idx="3">
                  <c:v>8.2978609380648122E-3</c:v>
                </c:pt>
                <c:pt idx="4">
                  <c:v>5.2763478836059745E-2</c:v>
                </c:pt>
                <c:pt idx="5">
                  <c:v>4.7939452408126207E-3</c:v>
                </c:pt>
                <c:pt idx="6">
                  <c:v>0.15990869971522942</c:v>
                </c:pt>
                <c:pt idx="7">
                  <c:v>5.9631739184260492E-3</c:v>
                </c:pt>
                <c:pt idx="8">
                  <c:v>0.19688262648491492</c:v>
                </c:pt>
                <c:pt idx="9">
                  <c:v>3.3878824399583923E-2</c:v>
                </c:pt>
                <c:pt idx="10">
                  <c:v>7.6568211037015318E-2</c:v>
                </c:pt>
                <c:pt idx="12">
                  <c:v>5.495896798254180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15679999999999999</c:v>
                </c:pt>
                <c:pt idx="8">
                  <c:v>0.3926</c:v>
                </c:pt>
                <c:pt idx="9">
                  <c:v>0.43369999999999997</c:v>
                </c:pt>
                <c:pt idx="10">
                  <c:v>1.68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425597825452717E-2</c:v>
                </c:pt>
                <c:pt idx="1">
                  <c:v>7.2109019127578972E-2</c:v>
                </c:pt>
                <c:pt idx="3">
                  <c:v>5.0303297755392837E-4</c:v>
                </c:pt>
                <c:pt idx="4">
                  <c:v>0.12402220207660479</c:v>
                </c:pt>
                <c:pt idx="5">
                  <c:v>2.9994597498183262E-3</c:v>
                </c:pt>
                <c:pt idx="6">
                  <c:v>0.22171959768659777</c:v>
                </c:pt>
                <c:pt idx="7">
                  <c:v>0.38358536672772303</c:v>
                </c:pt>
                <c:pt idx="8">
                  <c:v>5.5040210686961785E-3</c:v>
                </c:pt>
                <c:pt idx="9">
                  <c:v>1.6054128463587373E-3</c:v>
                </c:pt>
                <c:pt idx="10">
                  <c:v>0.16762790765090618</c:v>
                </c:pt>
                <c:pt idx="11">
                  <c:v>3.82920830483750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6">
                  <c:v>2.4171011647571264E-3</c:v>
                </c:pt>
                <c:pt idx="7">
                  <c:v>6.049735615523741E-3</c:v>
                </c:pt>
                <c:pt idx="9">
                  <c:v>2.598453055585228E-4</c:v>
                </c:pt>
                <c:pt idx="10">
                  <c:v>6.684312919529700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0692638319360785E-2</c:v>
                </c:pt>
                <c:pt idx="1">
                  <c:v>4.6089641188097379E-2</c:v>
                </c:pt>
                <c:pt idx="4">
                  <c:v>5.6457768414170002E-2</c:v>
                </c:pt>
                <c:pt idx="6">
                  <c:v>6.7895764878645834E-2</c:v>
                </c:pt>
                <c:pt idx="7">
                  <c:v>0.17840524776356115</c:v>
                </c:pt>
                <c:pt idx="10">
                  <c:v>7.9205394229489856E-2</c:v>
                </c:pt>
                <c:pt idx="11">
                  <c:v>3.806791456361746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7.3264929383413903E-4</c:v>
                </c:pt>
                <c:pt idx="1">
                  <c:v>1.6384773534098278E-3</c:v>
                </c:pt>
                <c:pt idx="4">
                  <c:v>1.7649141655840698E-2</c:v>
                </c:pt>
                <c:pt idx="6">
                  <c:v>2.0193127418620536E-2</c:v>
                </c:pt>
                <c:pt idx="7">
                  <c:v>2.6744300516275039E-2</c:v>
                </c:pt>
                <c:pt idx="10">
                  <c:v>4.263863694428621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4">
                  <c:v>3.216551840367459E-3</c:v>
                </c:pt>
                <c:pt idx="6">
                  <c:v>5.3626943437083199E-3</c:v>
                </c:pt>
                <c:pt idx="7">
                  <c:v>1.468612754068007E-2</c:v>
                </c:pt>
                <c:pt idx="10">
                  <c:v>1.872734108882807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5.0003102122577947E-3</c:v>
                </c:pt>
                <c:pt idx="1">
                  <c:v>1.0168183266816009E-5</c:v>
                </c:pt>
                <c:pt idx="2">
                  <c:v>2.4380900586071765E-2</c:v>
                </c:pt>
                <c:pt idx="3">
                  <c:v>5.0303297755392837E-4</c:v>
                </c:pt>
                <c:pt idx="4">
                  <c:v>4.6698740166226653E-2</c:v>
                </c:pt>
                <c:pt idx="5">
                  <c:v>2.9994597498183262E-3</c:v>
                </c:pt>
                <c:pt idx="6">
                  <c:v>0.12585090988086595</c:v>
                </c:pt>
                <c:pt idx="7">
                  <c:v>5.5040210686961777E-3</c:v>
                </c:pt>
                <c:pt idx="8">
                  <c:v>0.1576999552916831</c:v>
                </c:pt>
                <c:pt idx="9">
                  <c:v>1.3455675408002143E-3</c:v>
                </c:pt>
                <c:pt idx="10">
                  <c:v>7.5601602698575215E-2</c:v>
                </c:pt>
                <c:pt idx="11">
                  <c:v>2.2416848475758328E-5</c:v>
                </c:pt>
                <c:pt idx="12">
                  <c:v>5.900577460496780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15620000000000001</c:v>
                </c:pt>
                <c:pt idx="8">
                  <c:v>0.50060000000000004</c:v>
                </c:pt>
                <c:pt idx="9">
                  <c:v>0.32979999999999998</c:v>
                </c:pt>
                <c:pt idx="10">
                  <c:v>1.3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9161034387940859E-3</c:v>
                </c:pt>
                <c:pt idx="1">
                  <c:v>1.5668853518267908E-2</c:v>
                </c:pt>
                <c:pt idx="2">
                  <c:v>1.9310351879507848E-2</c:v>
                </c:pt>
                <c:pt idx="3">
                  <c:v>7.1563731574112333E-2</c:v>
                </c:pt>
                <c:pt idx="4">
                  <c:v>4.8996064231483491E-2</c:v>
                </c:pt>
                <c:pt idx="5">
                  <c:v>6.9749540147984693E-2</c:v>
                </c:pt>
                <c:pt idx="6">
                  <c:v>0.17415812264811881</c:v>
                </c:pt>
                <c:pt idx="7">
                  <c:v>0.25974625022779813</c:v>
                </c:pt>
                <c:pt idx="8">
                  <c:v>0.14760341895829021</c:v>
                </c:pt>
                <c:pt idx="9">
                  <c:v>8.4821602273511043E-2</c:v>
                </c:pt>
                <c:pt idx="10">
                  <c:v>0.10281938118700142</c:v>
                </c:pt>
                <c:pt idx="11">
                  <c:v>6.348637933758477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6">
                  <c:v>2.5223213252394106E-3</c:v>
                </c:pt>
                <c:pt idx="7">
                  <c:v>8.0844252513921928E-3</c:v>
                </c:pt>
                <c:pt idx="9">
                  <c:v>2.18062339309079E-4</c:v>
                </c:pt>
                <c:pt idx="10">
                  <c:v>5.325622085182448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6.756857862728194E-4</c:v>
                </c:pt>
                <c:pt idx="1">
                  <c:v>1.359121303717281E-2</c:v>
                </c:pt>
                <c:pt idx="2">
                  <c:v>1.7633162845497796E-3</c:v>
                </c:pt>
                <c:pt idx="3">
                  <c:v>5.3106153669864042E-3</c:v>
                </c:pt>
                <c:pt idx="4">
                  <c:v>4.5563195217650933E-2</c:v>
                </c:pt>
                <c:pt idx="5">
                  <c:v>6.7634778634399831E-2</c:v>
                </c:pt>
                <c:pt idx="6">
                  <c:v>7.4059660502294958E-3</c:v>
                </c:pt>
                <c:pt idx="7">
                  <c:v>1.8342010497313113E-2</c:v>
                </c:pt>
                <c:pt idx="8">
                  <c:v>0.14381011282636008</c:v>
                </c:pt>
                <c:pt idx="9">
                  <c:v>8.2372522462908493E-2</c:v>
                </c:pt>
                <c:pt idx="10">
                  <c:v>1.1944444729632886E-2</c:v>
                </c:pt>
                <c:pt idx="11">
                  <c:v>5.6222168677836379E-4</c:v>
                </c:pt>
                <c:pt idx="12">
                  <c:v>1.171612175424465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3.143049847491844E-6</c:v>
                </c:pt>
                <c:pt idx="2">
                  <c:v>5.3434921294742763E-5</c:v>
                </c:pt>
                <c:pt idx="3">
                  <c:v>5.4997455097898053E-3</c:v>
                </c:pt>
                <c:pt idx="6">
                  <c:v>7.5147486192420638E-3</c:v>
                </c:pt>
                <c:pt idx="7">
                  <c:v>2.3073469363465118E-2</c:v>
                </c:pt>
                <c:pt idx="10">
                  <c:v>1.260934731897171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6">
                  <c:v>2.018945216324548E-2</c:v>
                </c:pt>
                <c:pt idx="7">
                  <c:v>1.5437810152547133E-2</c:v>
                </c:pt>
                <c:pt idx="10">
                  <c:v>5.45650359905181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4.2372746026737747E-3</c:v>
                </c:pt>
                <c:pt idx="1">
                  <c:v>2.0776404810950977E-3</c:v>
                </c:pt>
                <c:pt idx="2">
                  <c:v>1.7493600673663321E-2</c:v>
                </c:pt>
                <c:pt idx="3">
                  <c:v>5.1675182246633099E-3</c:v>
                </c:pt>
                <c:pt idx="4">
                  <c:v>5.9018721486505381E-2</c:v>
                </c:pt>
                <c:pt idx="5">
                  <c:v>0.11022223876861645</c:v>
                </c:pt>
                <c:pt idx="6">
                  <c:v>2.8418157235130762E-2</c:v>
                </c:pt>
                <c:pt idx="7">
                  <c:v>3.0685855404546603E-2</c:v>
                </c:pt>
                <c:pt idx="8">
                  <c:v>0.16791598569046406</c:v>
                </c:pt>
                <c:pt idx="9">
                  <c:v>2.2310174712934731E-3</c:v>
                </c:pt>
                <c:pt idx="10">
                  <c:v>8.3742729280383718E-2</c:v>
                </c:pt>
                <c:pt idx="11">
                  <c:v>7.264210659748386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27</c:v>
                </c:pt>
                <c:pt idx="7">
                  <c:v>0.4703</c:v>
                </c:pt>
                <c:pt idx="9">
                  <c:v>0.37840000000000001</c:v>
                </c:pt>
                <c:pt idx="10">
                  <c:v>2.4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323910850997956E-3</c:v>
                </c:pt>
                <c:pt idx="1">
                  <c:v>1.3260072235208328E-2</c:v>
                </c:pt>
                <c:pt idx="2">
                  <c:v>3.0029374209639585E-2</c:v>
                </c:pt>
                <c:pt idx="3">
                  <c:v>4.1537920103246036E-2</c:v>
                </c:pt>
                <c:pt idx="4">
                  <c:v>7.5562270831831257E-2</c:v>
                </c:pt>
                <c:pt idx="5">
                  <c:v>0.1831223576647234</c:v>
                </c:pt>
                <c:pt idx="6">
                  <c:v>6.1540284095095411E-2</c:v>
                </c:pt>
                <c:pt idx="7">
                  <c:v>0.12529305571168425</c:v>
                </c:pt>
                <c:pt idx="8">
                  <c:v>0.26794164527376069</c:v>
                </c:pt>
                <c:pt idx="9">
                  <c:v>7.3834885075368853E-2</c:v>
                </c:pt>
                <c:pt idx="10">
                  <c:v>0.11952001296739617</c:v>
                </c:pt>
                <c:pt idx="11">
                  <c:v>9.79246740074128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7.0101742146927604E-2</c:v>
                </c:pt>
                <c:pt idx="6">
                  <c:v>0.41578319720218693</c:v>
                </c:pt>
                <c:pt idx="7">
                  <c:v>2.1967721720985125E-2</c:v>
                </c:pt>
                <c:pt idx="9">
                  <c:v>5.2986577548062776E-2</c:v>
                </c:pt>
                <c:pt idx="10">
                  <c:v>0.43453376004045885</c:v>
                </c:pt>
                <c:pt idx="11">
                  <c:v>3.4472484479923177E-3</c:v>
                </c:pt>
                <c:pt idx="12">
                  <c:v>5.47874954858679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2878102429301417E-3</c:v>
                </c:pt>
                <c:pt idx="1">
                  <c:v>2.0023523609660875E-2</c:v>
                </c:pt>
                <c:pt idx="2">
                  <c:v>1.3723429107454667E-2</c:v>
                </c:pt>
                <c:pt idx="3">
                  <c:v>4.7938782731616891E-2</c:v>
                </c:pt>
                <c:pt idx="4">
                  <c:v>7.1293444664093722E-2</c:v>
                </c:pt>
                <c:pt idx="5">
                  <c:v>0.1656881657217858</c:v>
                </c:pt>
                <c:pt idx="6">
                  <c:v>5.9864438195894244E-2</c:v>
                </c:pt>
                <c:pt idx="7">
                  <c:v>0.16391615246101154</c:v>
                </c:pt>
                <c:pt idx="8">
                  <c:v>0.26091603865744672</c:v>
                </c:pt>
                <c:pt idx="9">
                  <c:v>8.6862495206883369E-2</c:v>
                </c:pt>
                <c:pt idx="10">
                  <c:v>0.1052816373234158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5">
                  <c:v>2.476399280447082E-3</c:v>
                </c:pt>
                <c:pt idx="8">
                  <c:v>9.1668879613909376E-3</c:v>
                </c:pt>
                <c:pt idx="9">
                  <c:v>4.7292114209746011E-4</c:v>
                </c:pt>
                <c:pt idx="10">
                  <c:v>7.376415196361444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3.6729726484407787E-6</c:v>
                </c:pt>
                <c:pt idx="2">
                  <c:v>9.7136516272242276E-3</c:v>
                </c:pt>
                <c:pt idx="3">
                  <c:v>4.2992807337090502E-2</c:v>
                </c:pt>
                <c:pt idx="6">
                  <c:v>5.7954929570050925E-2</c:v>
                </c:pt>
                <c:pt idx="7">
                  <c:v>0.15777279699652327</c:v>
                </c:pt>
                <c:pt idx="9">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4.1822314328258191E-6</c:v>
                </c:pt>
                <c:pt idx="1">
                  <c:v>4.5743156296532397E-6</c:v>
                </c:pt>
                <c:pt idx="4">
                  <c:v>5.5932523229095844E-3</c:v>
                </c:pt>
                <c:pt idx="5">
                  <c:v>7.7629831741438445E-3</c:v>
                </c:pt>
                <c:pt idx="8">
                  <c:v>2.4335210428163334E-2</c:v>
                </c:pt>
                <c:pt idx="10">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2.3709601785048481E-3</c:v>
                </c:pt>
                <c:pt idx="4">
                  <c:v>6.4904626465531858E-3</c:v>
                </c:pt>
                <c:pt idx="5">
                  <c:v>6.6068575724320573E-3</c:v>
                </c:pt>
                <c:pt idx="8">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4.279955038848874E-3</c:v>
                </c:pt>
                <c:pt idx="1">
                  <c:v>5.2438692498171045E-3</c:v>
                </c:pt>
                <c:pt idx="2">
                  <c:v>1.6413897345939708E-2</c:v>
                </c:pt>
                <c:pt idx="3">
                  <c:v>4.9459753945263855E-3</c:v>
                </c:pt>
                <c:pt idx="4">
                  <c:v>5.9209729694630946E-2</c:v>
                </c:pt>
                <c:pt idx="5">
                  <c:v>0.14884192569476284</c:v>
                </c:pt>
                <c:pt idx="7">
                  <c:v>6.1433554644882669E-3</c:v>
                </c:pt>
                <c:pt idx="8">
                  <c:v>0.20317088765284319</c:v>
                </c:pt>
                <c:pt idx="9">
                  <c:v>3.8324112083874509E-3</c:v>
                </c:pt>
                <c:pt idx="10">
                  <c:v>9.6872301097444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20680000000000001</c:v>
                </c:pt>
                <c:pt idx="8">
                  <c:v>0.47670000000000001</c:v>
                </c:pt>
                <c:pt idx="9">
                  <c:v>0.30559999999999998</c:v>
                </c:pt>
                <c:pt idx="10">
                  <c:v>1.0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436449174607335E-3</c:v>
                </c:pt>
                <c:pt idx="1">
                  <c:v>2.9401906875188205E-2</c:v>
                </c:pt>
                <c:pt idx="4">
                  <c:v>0.12607359527604595</c:v>
                </c:pt>
                <c:pt idx="5">
                  <c:v>2.4578091213436752E-3</c:v>
                </c:pt>
                <c:pt idx="6">
                  <c:v>0.25213010765919697</c:v>
                </c:pt>
                <c:pt idx="7">
                  <c:v>0.39132364067278441</c:v>
                </c:pt>
                <c:pt idx="8">
                  <c:v>8.5521297241422135E-3</c:v>
                </c:pt>
                <c:pt idx="9">
                  <c:v>2.583863736266491E-3</c:v>
                </c:pt>
                <c:pt idx="10">
                  <c:v>0.17575172879192341</c:v>
                </c:pt>
                <c:pt idx="12">
                  <c:v>4.253105592017428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6">
                  <c:v>5.0435530683057717E-3</c:v>
                </c:pt>
                <c:pt idx="7">
                  <c:v>1.1625394479847445E-2</c:v>
                </c:pt>
                <c:pt idx="9">
                  <c:v>2.6454046997988044E-4</c:v>
                </c:pt>
                <c:pt idx="10">
                  <c:v>7.451493482117376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1">
                  <c:v>1.3193495949862291E-2</c:v>
                </c:pt>
                <c:pt idx="4">
                  <c:v>3.973502736905412E-2</c:v>
                </c:pt>
                <c:pt idx="6">
                  <c:v>5.5412948633868524E-2</c:v>
                </c:pt>
                <c:pt idx="7">
                  <c:v>0.13673428642229304</c:v>
                </c:pt>
                <c:pt idx="10">
                  <c:v>8.9370974016816415E-2</c:v>
                </c:pt>
                <c:pt idx="12">
                  <c:v>4.20633031981941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6.7116966970143218E-3</c:v>
                </c:pt>
                <c:pt idx="6">
                  <c:v>1.1189864084283716E-2</c:v>
                </c:pt>
                <c:pt idx="7">
                  <c:v>2.9098899709325752E-2</c:v>
                </c:pt>
                <c:pt idx="10">
                  <c:v>5.033444779611966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6">
                  <c:v>2.5545416492227292E-2</c:v>
                </c:pt>
                <c:pt idx="7">
                  <c:v>1.6439498594611503E-2</c:v>
                </c:pt>
                <c:pt idx="10">
                  <c:v>7.75302292887043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7.1436449174607335E-3</c:v>
                </c:pt>
                <c:pt idx="1">
                  <c:v>1.6208410925325913E-2</c:v>
                </c:pt>
                <c:pt idx="3">
                  <c:v>3.2846763363046964E-4</c:v>
                </c:pt>
                <c:pt idx="4">
                  <c:v>7.9626871209977509E-2</c:v>
                </c:pt>
                <c:pt idx="5">
                  <c:v>2.4578091213436752E-3</c:v>
                </c:pt>
                <c:pt idx="6">
                  <c:v>0.15493832538051167</c:v>
                </c:pt>
                <c:pt idx="7">
                  <c:v>0.1974255614667067</c:v>
                </c:pt>
                <c:pt idx="8">
                  <c:v>8.5521297241422135E-3</c:v>
                </c:pt>
                <c:pt idx="9">
                  <c:v>2.3193232662866107E-3</c:v>
                </c:pt>
                <c:pt idx="10">
                  <c:v>7.7650614522141378E-2</c:v>
                </c:pt>
                <c:pt idx="11">
                  <c:v>4.677527219801615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6799999999999997</c:v>
                </c:pt>
                <c:pt idx="10">
                  <c:v>3.20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7.0101742146927604E-2</c:v>
                </c:pt>
                <c:pt idx="6">
                  <c:v>0.41578319720218693</c:v>
                </c:pt>
                <c:pt idx="7">
                  <c:v>2.1967721720985125E-2</c:v>
                </c:pt>
                <c:pt idx="9">
                  <c:v>5.2986577548062776E-2</c:v>
                </c:pt>
                <c:pt idx="10">
                  <c:v>0.43453376004045885</c:v>
                </c:pt>
                <c:pt idx="11">
                  <c:v>3.4472484479923177E-3</c:v>
                </c:pt>
                <c:pt idx="12">
                  <c:v>5.47874954858679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9">
                  <c:v>2.8231035371234139E-3</c:v>
                </c:pt>
                <c:pt idx="10">
                  <c:v>8.541456285962463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7.002916503154874E-2</c:v>
                </c:pt>
                <c:pt idx="6">
                  <c:v>0.41557756813574326</c:v>
                </c:pt>
                <c:pt idx="10">
                  <c:v>0.101435769124919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10">
                  <c:v>5.200002237642045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2.0562906644367273E-4</c:v>
                </c:pt>
                <c:pt idx="6">
                  <c:v>7.2577115378856744E-5</c:v>
                </c:pt>
                <c:pt idx="7">
                  <c:v>2.1967721720985125E-2</c:v>
                </c:pt>
                <c:pt idx="8">
                  <c:v>4.2290337784863809E-4</c:v>
                </c:pt>
                <c:pt idx="9">
                  <c:v>5.016347401093936E-2</c:v>
                </c:pt>
                <c:pt idx="10">
                  <c:v>3.2493633780409585E-2</c:v>
                </c:pt>
                <c:pt idx="11">
                  <c:v>5.478749548586796E-4</c:v>
                </c:pt>
                <c:pt idx="12">
                  <c:v>3.447248447992317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4920000000000004</c:v>
                </c:pt>
                <c:pt idx="10">
                  <c:v>5.07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283338226409511</c:v>
                </c:pt>
                <c:pt idx="6">
                  <c:v>6.734849459052232E-2</c:v>
                </c:pt>
                <c:pt idx="7">
                  <c:v>1.6386580516175052E-2</c:v>
                </c:pt>
                <c:pt idx="9">
                  <c:v>5.4127289535044538E-2</c:v>
                </c:pt>
                <c:pt idx="10">
                  <c:v>0.4374843927045447</c:v>
                </c:pt>
                <c:pt idx="11">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7.002916503154874E-2</c:v>
                </c:pt>
                <c:pt idx="6">
                  <c:v>0.41557756813574326</c:v>
                </c:pt>
                <c:pt idx="10">
                  <c:v>0.101435769124919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2.8231035371234139E-3</c:v>
                </c:pt>
                <c:pt idx="10">
                  <c:v>8.54145628596246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2.0562906644367273E-4</c:v>
                </c:pt>
                <c:pt idx="6">
                  <c:v>7.2577115378856744E-5</c:v>
                </c:pt>
                <c:pt idx="7">
                  <c:v>2.1967721720985125E-2</c:v>
                </c:pt>
                <c:pt idx="8">
                  <c:v>4.2290337784863809E-4</c:v>
                </c:pt>
                <c:pt idx="9">
                  <c:v>5.016347401093936E-2</c:v>
                </c:pt>
                <c:pt idx="10">
                  <c:v>8.4493656156830035E-2</c:v>
                </c:pt>
                <c:pt idx="11">
                  <c:v>5.478749548586796E-4</c:v>
                </c:pt>
                <c:pt idx="12">
                  <c:v>3.447248447992317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9">
                  <c:v>5.0850788674914535E-3</c:v>
                </c:pt>
                <c:pt idx="10">
                  <c:v>9.49460265390746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1241799649154309</c:v>
                </c:pt>
                <c:pt idx="6">
                  <c:v>6.734849459052232E-2</c:v>
                </c:pt>
                <c:pt idx="10">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4.1538577255202636E-4</c:v>
                </c:pt>
                <c:pt idx="8">
                  <c:v>1.6386580516175055E-2</c:v>
                </c:pt>
                <c:pt idx="9">
                  <c:v>6.4707980405049659E-2</c:v>
                </c:pt>
                <c:pt idx="12">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5899999999999996</c:v>
                </c:pt>
                <c:pt idx="10">
                  <c:v>4.10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3462412004632861</c:v>
                </c:pt>
                <c:pt idx="6">
                  <c:v>6.1306354692189528E-2</c:v>
                </c:pt>
                <c:pt idx="7">
                  <c:v>2.5558696901447086E-2</c:v>
                </c:pt>
                <c:pt idx="9">
                  <c:v>4.8202240786807821E-3</c:v>
                </c:pt>
                <c:pt idx="10">
                  <c:v>0.4736906042813540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9">
                  <c:v>4.8202240786807821E-3</c:v>
                </c:pt>
                <c:pt idx="10">
                  <c:v>0.1127746169669212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5">
                  <c:v>0.43462412004632861</c:v>
                </c:pt>
                <c:pt idx="6">
                  <c:v>6.0976747951362341E-2</c:v>
                </c:pt>
                <c:pt idx="10">
                  <c:v>8.0574973105906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10">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10">
                  <c:v>8.0744368211655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5">
                  <c:v>3.2960674082718516E-4</c:v>
                </c:pt>
                <c:pt idx="8">
                  <c:v>2.5558696901447086E-2</c:v>
                </c:pt>
                <c:pt idx="9">
                  <c:v>5.587083807854242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403361837539186E-3</c:v>
                </c:pt>
                <c:pt idx="1">
                  <c:v>4.9156687201813688E-2</c:v>
                </c:pt>
                <c:pt idx="3">
                  <c:v>1.5322460926377875E-2</c:v>
                </c:pt>
                <c:pt idx="4">
                  <c:v>3.6291236589418288E-3</c:v>
                </c:pt>
                <c:pt idx="5">
                  <c:v>0.43551058204344495</c:v>
                </c:pt>
                <c:pt idx="8">
                  <c:v>0.47945154934812423</c:v>
                </c:pt>
                <c:pt idx="10">
                  <c:v>1.51892606375435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8">
                  <c:v>2.13491897843372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4932892513762492</c:v>
                </c:pt>
                <c:pt idx="8">
                  <c:v>0.2219943317926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4809990341441659</c:v>
                </c:pt>
                <c:pt idx="8">
                  <c:v>0.1997982193962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527730319964803E-2</c:v>
                </c:pt>
                <c:pt idx="5">
                  <c:v>9.6295322382211525E-3</c:v>
                </c:pt>
                <c:pt idx="8">
                  <c:v>6.8906243600574766E-3</c:v>
                </c:pt>
                <c:pt idx="10">
                  <c:v>4.42352870564617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7403361837539186E-3</c:v>
                </c:pt>
                <c:pt idx="1">
                  <c:v>1.5628956881848885E-2</c:v>
                </c:pt>
                <c:pt idx="3">
                  <c:v>3.6291236589418288E-3</c:v>
                </c:pt>
                <c:pt idx="4">
                  <c:v>1.5322460926377875E-2</c:v>
                </c:pt>
                <c:pt idx="5">
                  <c:v>2.8452221253182263E-2</c:v>
                </c:pt>
                <c:pt idx="8">
                  <c:v>2.9419184014784619E-2</c:v>
                </c:pt>
                <c:pt idx="10">
                  <c:v>1.076573193189738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317326504995634E-3</c:v>
                </c:pt>
                <c:pt idx="1">
                  <c:v>4.9172102605190303E-2</c:v>
                </c:pt>
                <c:pt idx="3">
                  <c:v>1.5327587220883452E-2</c:v>
                </c:pt>
                <c:pt idx="4">
                  <c:v>3.6267341626128333E-3</c:v>
                </c:pt>
                <c:pt idx="5">
                  <c:v>0.43558655845726546</c:v>
                </c:pt>
                <c:pt idx="8">
                  <c:v>0.47936451378975942</c:v>
                </c:pt>
                <c:pt idx="10">
                  <c:v>1.51907711137889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8">
                  <c:v>2.13564775659725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4941711663007163</c:v>
                </c:pt>
                <c:pt idx="8">
                  <c:v>0.22206706007039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4815215821257138</c:v>
                </c:pt>
                <c:pt idx="8">
                  <c:v>0.199869015802506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538770756492184E-2</c:v>
                </c:pt>
                <c:pt idx="5">
                  <c:v>9.6304021138580685E-3</c:v>
                </c:pt>
                <c:pt idx="8">
                  <c:v>6.8457267974277591E-3</c:v>
                </c:pt>
                <c:pt idx="10">
                  <c:v>4.42437698841664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7317326504995634E-3</c:v>
                </c:pt>
                <c:pt idx="1">
                  <c:v>1.5633331848698119E-2</c:v>
                </c:pt>
                <c:pt idx="3">
                  <c:v>3.6267341626128333E-3</c:v>
                </c:pt>
                <c:pt idx="4">
                  <c:v>1.5327587220883452E-2</c:v>
                </c:pt>
                <c:pt idx="5">
                  <c:v>2.8386881500764422E-2</c:v>
                </c:pt>
                <c:pt idx="8">
                  <c:v>2.9226233553461264E-2</c:v>
                </c:pt>
                <c:pt idx="10">
                  <c:v>1.07663941253722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8.2098172766123009E-2</c:v>
                </c:pt>
                <c:pt idx="2">
                  <c:v>2.766692599215401E-2</c:v>
                </c:pt>
                <c:pt idx="3">
                  <c:v>8.807155321736132E-2</c:v>
                </c:pt>
                <c:pt idx="4">
                  <c:v>0.12152540134740045</c:v>
                </c:pt>
                <c:pt idx="5">
                  <c:v>0.16399541584917099</c:v>
                </c:pt>
                <c:pt idx="6">
                  <c:v>3.8970122847494021E-3</c:v>
                </c:pt>
                <c:pt idx="7">
                  <c:v>0.26606437773631458</c:v>
                </c:pt>
                <c:pt idx="8">
                  <c:v>6.62353207000244E-2</c:v>
                </c:pt>
                <c:pt idx="9">
                  <c:v>0.16673327506438138</c:v>
                </c:pt>
                <c:pt idx="10">
                  <c:v>1.32274005740533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2">
                  <c:v>1.970710399685453E-2</c:v>
                </c:pt>
                <c:pt idx="3">
                  <c:v>2.2345573699008005E-2</c:v>
                </c:pt>
                <c:pt idx="4">
                  <c:v>3.8012679529826144E-3</c:v>
                </c:pt>
                <c:pt idx="5">
                  <c:v>9.485304119917308E-2</c:v>
                </c:pt>
                <c:pt idx="7">
                  <c:v>3.6068048215162865E-2</c:v>
                </c:pt>
                <c:pt idx="8">
                  <c:v>8.9231340548444789E-3</c:v>
                </c:pt>
                <c:pt idx="9">
                  <c:v>7.2555569312469745E-2</c:v>
                </c:pt>
                <c:pt idx="10">
                  <c:v>5.036598021122936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4">
                  <c:v>5.1006066755415164E-2</c:v>
                </c:pt>
                <c:pt idx="5">
                  <c:v>2.6441561849660927E-2</c:v>
                </c:pt>
                <c:pt idx="7">
                  <c:v>8.8038928844814568E-2</c:v>
                </c:pt>
                <c:pt idx="8">
                  <c:v>6.7800371996582948E-7</c:v>
                </c:pt>
                <c:pt idx="9">
                  <c:v>3.8898859553271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1">
                  <c:v>8.2098172766123009E-2</c:v>
                </c:pt>
                <c:pt idx="4">
                  <c:v>5.7943830949497767E-2</c:v>
                </c:pt>
                <c:pt idx="5">
                  <c:v>4.2700812800336968E-2</c:v>
                </c:pt>
                <c:pt idx="6">
                  <c:v>2.1142051482805436E-7</c:v>
                </c:pt>
                <c:pt idx="7">
                  <c:v>6.5590918261191081E-2</c:v>
                </c:pt>
                <c:pt idx="9">
                  <c:v>1.2428449738880718E-2</c:v>
                </c:pt>
                <c:pt idx="10">
                  <c:v>3.8638921675472004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2">
                  <c:v>7.9598219952994806E-3</c:v>
                </c:pt>
                <c:pt idx="3">
                  <c:v>6.5725979518353309E-2</c:v>
                </c:pt>
                <c:pt idx="4">
                  <c:v>8.7742356895048872E-3</c:v>
                </c:pt>
                <c:pt idx="6">
                  <c:v>3.8968008642345738E-3</c:v>
                </c:pt>
                <c:pt idx="7">
                  <c:v>5.7311508641459959E-2</c:v>
                </c:pt>
                <c:pt idx="8">
                  <c:v>7.636648241514607E-2</c:v>
                </c:pt>
                <c:pt idx="9">
                  <c:v>8.1904161637136649E-3</c:v>
                </c:pt>
                <c:pt idx="10">
                  <c:v>4.28503964597591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4175372255002754E-2</c:v>
                </c:pt>
                <c:pt idx="2">
                  <c:v>9.2660402847081449E-2</c:v>
                </c:pt>
                <c:pt idx="3">
                  <c:v>0.16479500394095559</c:v>
                </c:pt>
                <c:pt idx="4">
                  <c:v>7.0594690426060286E-2</c:v>
                </c:pt>
                <c:pt idx="5">
                  <c:v>0.10830141278533575</c:v>
                </c:pt>
                <c:pt idx="6">
                  <c:v>8.9757687778646202E-3</c:v>
                </c:pt>
                <c:pt idx="7">
                  <c:v>4.2644153977669061E-2</c:v>
                </c:pt>
                <c:pt idx="8">
                  <c:v>0.22660645577361263</c:v>
                </c:pt>
                <c:pt idx="9">
                  <c:v>0.20492307455652828</c:v>
                </c:pt>
                <c:pt idx="10">
                  <c:v>2.5445783256084872E-2</c:v>
                </c:pt>
                <c:pt idx="11">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2">
                  <c:v>9.2660402847081449E-2</c:v>
                </c:pt>
                <c:pt idx="3">
                  <c:v>7.7800554359570215E-2</c:v>
                </c:pt>
                <c:pt idx="5">
                  <c:v>8.6251124281583498E-3</c:v>
                </c:pt>
                <c:pt idx="8">
                  <c:v>8.4284223346426851E-2</c:v>
                </c:pt>
                <c:pt idx="9">
                  <c:v>1.5077396017676884E-2</c:v>
                </c:pt>
                <c:pt idx="11">
                  <c:v>3.0384703509925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1">
                  <c:v>3.6790219135821485E-2</c:v>
                </c:pt>
                <c:pt idx="3">
                  <c:v>8.6292888776065019E-3</c:v>
                </c:pt>
                <c:pt idx="4">
                  <c:v>4.5375841373653247E-2</c:v>
                </c:pt>
                <c:pt idx="5">
                  <c:v>8.0793952137310415E-2</c:v>
                </c:pt>
                <c:pt idx="7">
                  <c:v>9.4967084822985322E-3</c:v>
                </c:pt>
                <c:pt idx="8">
                  <c:v>7.3397997727432589E-5</c:v>
                </c:pt>
                <c:pt idx="9">
                  <c:v>8.746551999834927E-2</c:v>
                </c:pt>
                <c:pt idx="10">
                  <c:v>6.5896515604765803E-3</c:v>
                </c:pt>
                <c:pt idx="11">
                  <c:v>5.740343687054756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3">
                  <c:v>7.8311404423753145E-2</c:v>
                </c:pt>
                <c:pt idx="5">
                  <c:v>1.8882348219866989E-2</c:v>
                </c:pt>
                <c:pt idx="8">
                  <c:v>7.9747482769148073E-2</c:v>
                </c:pt>
                <c:pt idx="9">
                  <c:v>5.15153874663759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2">
                  <c:v>1.7385153119181269E-2</c:v>
                </c:pt>
                <c:pt idx="3">
                  <c:v>2.5218849052407039E-2</c:v>
                </c:pt>
                <c:pt idx="4">
                  <c:v>5.3756280025725276E-5</c:v>
                </c:pt>
                <c:pt idx="6">
                  <c:v>8.9757687778646202E-3</c:v>
                </c:pt>
                <c:pt idx="7">
                  <c:v>3.3147445495370527E-2</c:v>
                </c:pt>
                <c:pt idx="8">
                  <c:v>6.2501351660310261E-2</c:v>
                </c:pt>
                <c:pt idx="9">
                  <c:v>1.8856131695608291E-2</c:v>
                </c:pt>
                <c:pt idx="10">
                  <c:v>5.08647710741261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0.17813299245834574</c:v>
                </c:pt>
                <c:pt idx="5">
                  <c:v>0.21442455324174367</c:v>
                </c:pt>
                <c:pt idx="7">
                  <c:v>1.1509498510208325E-2</c:v>
                </c:pt>
                <c:pt idx="8">
                  <c:v>0.3229479643269409</c:v>
                </c:pt>
                <c:pt idx="9">
                  <c:v>0.18285423394799405</c:v>
                </c:pt>
                <c:pt idx="10">
                  <c:v>4.182120246519808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3">
                  <c:v>9.6280795771019693E-6</c:v>
                </c:pt>
                <c:pt idx="5">
                  <c:v>0.14542215544022347</c:v>
                </c:pt>
                <c:pt idx="7">
                  <c:v>1.1509498510208325E-2</c:v>
                </c:pt>
                <c:pt idx="8">
                  <c:v>2.0690128452921253E-5</c:v>
                </c:pt>
                <c:pt idx="9">
                  <c:v>7.9819647632772758E-2</c:v>
                </c:pt>
                <c:pt idx="10">
                  <c:v>4.182120246519808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2">
                  <c:v>8.5517319788469048E-2</c:v>
                </c:pt>
                <c:pt idx="3">
                  <c:v>7.5099891325612428E-2</c:v>
                </c:pt>
                <c:pt idx="5">
                  <c:v>2.8439093690432658E-2</c:v>
                </c:pt>
                <c:pt idx="8">
                  <c:v>9.4755564569076856E-2</c:v>
                </c:pt>
                <c:pt idx="9">
                  <c:v>5.982980832951794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3">
                  <c:v>5.9352859898126727E-2</c:v>
                </c:pt>
                <c:pt idx="5">
                  <c:v>4.056330411108755E-2</c:v>
                </c:pt>
                <c:pt idx="8">
                  <c:v>9.1037794309395265E-2</c:v>
                </c:pt>
                <c:pt idx="9">
                  <c:v>4.32396029543864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4">
                  <c:v>4.3670613155029493E-2</c:v>
                </c:pt>
                <c:pt idx="7">
                  <c:v>0.13713391532001587</c:v>
                </c:pt>
                <c:pt idx="10">
                  <c:v>5.3812002527883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2014</c:v>
                </c:pt>
                <c:pt idx="7">
                  <c:v>0.64549999999999996</c:v>
                </c:pt>
                <c:pt idx="10">
                  <c:v>0.1531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1283338226409511</c:v>
                </c:pt>
                <c:pt idx="6">
                  <c:v>6.734849459052232E-2</c:v>
                </c:pt>
                <c:pt idx="7">
                  <c:v>1.6386580516175052E-2</c:v>
                </c:pt>
                <c:pt idx="9">
                  <c:v>5.4127289535044538E-2</c:v>
                </c:pt>
                <c:pt idx="10">
                  <c:v>0.4374843927045447</c:v>
                </c:pt>
                <c:pt idx="11">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5548079169897273E-2</c:v>
                </c:pt>
                <c:pt idx="3">
                  <c:v>4.2169192354775738E-2</c:v>
                </c:pt>
                <c:pt idx="5">
                  <c:v>7.586484225238363E-2</c:v>
                </c:pt>
                <c:pt idx="6">
                  <c:v>0.23572846538239825</c:v>
                </c:pt>
                <c:pt idx="7">
                  <c:v>9.2131775395986173E-2</c:v>
                </c:pt>
                <c:pt idx="8">
                  <c:v>0.46044242473977526</c:v>
                </c:pt>
                <c:pt idx="9">
                  <c:v>5.260292959458459E-2</c:v>
                </c:pt>
                <c:pt idx="10">
                  <c:v>5.494673503404328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6">
                  <c:v>1.878060916134092E-2</c:v>
                </c:pt>
                <c:pt idx="8">
                  <c:v>6.0194721989301196E-2</c:v>
                </c:pt>
                <c:pt idx="9">
                  <c:v>1.42805150767977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2">
                  <c:v>1.614172168225475E-2</c:v>
                </c:pt>
                <c:pt idx="3">
                  <c:v>4.2149154401220919E-2</c:v>
                </c:pt>
                <c:pt idx="6">
                  <c:v>8.9580346546279041E-2</c:v>
                </c:pt>
                <c:pt idx="8">
                  <c:v>0.1482451232902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5">
                  <c:v>7.5741427455061003E-2</c:v>
                </c:pt>
                <c:pt idx="6">
                  <c:v>5.5174178967168346E-3</c:v>
                </c:pt>
                <c:pt idx="7">
                  <c:v>9.0371387962898037E-2</c:v>
                </c:pt>
                <c:pt idx="8">
                  <c:v>1.552706232054173E-2</c:v>
                </c:pt>
                <c:pt idx="10">
                  <c:v>5.18647696076496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2">
                  <c:v>1.5767466266459945E-2</c:v>
                </c:pt>
                <c:pt idx="6">
                  <c:v>4.8097971929081482E-2</c:v>
                </c:pt>
                <c:pt idx="8">
                  <c:v>8.750009569810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2">
                  <c:v>3.6388912211825822E-3</c:v>
                </c:pt>
                <c:pt idx="3">
                  <c:v>2.0037953554815927E-5</c:v>
                </c:pt>
                <c:pt idx="5">
                  <c:v>7.3752119848979975E-2</c:v>
                </c:pt>
                <c:pt idx="6">
                  <c:v>1.2341479732262271E-4</c:v>
                </c:pt>
                <c:pt idx="7">
                  <c:v>1.7603874330881404E-3</c:v>
                </c:pt>
                <c:pt idx="8">
                  <c:v>0.14897542144159218</c:v>
                </c:pt>
                <c:pt idx="9">
                  <c:v>3.081965426393633E-4</c:v>
                </c:pt>
                <c:pt idx="10">
                  <c:v>3.83224145177868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8099999999999999</c:v>
                </c:pt>
                <c:pt idx="8">
                  <c:v>0.67</c:v>
                </c:pt>
                <c:pt idx="10">
                  <c:v>0.148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7204326300153358E-2</c:v>
                </c:pt>
                <c:pt idx="3">
                  <c:v>4.8559042899347739E-2</c:v>
                </c:pt>
                <c:pt idx="5">
                  <c:v>0.19112282846997233</c:v>
                </c:pt>
                <c:pt idx="6">
                  <c:v>5.5063914531849847E-2</c:v>
                </c:pt>
                <c:pt idx="7">
                  <c:v>0.52433907962076154</c:v>
                </c:pt>
                <c:pt idx="8">
                  <c:v>7.6815138517167758E-2</c:v>
                </c:pt>
                <c:pt idx="9">
                  <c:v>5.68610777085616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5">
                  <c:v>1.852628303944447E-2</c:v>
                </c:pt>
                <c:pt idx="7">
                  <c:v>6.857874750025944E-2</c:v>
                </c:pt>
                <c:pt idx="9">
                  <c:v>1.5251409655766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2">
                  <c:v>1.7737478640480985E-2</c:v>
                </c:pt>
                <c:pt idx="3">
                  <c:v>4.8556042232930072E-2</c:v>
                </c:pt>
                <c:pt idx="5">
                  <c:v>4.9426808655054784E-2</c:v>
                </c:pt>
                <c:pt idx="7">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2">
                  <c:v>1.8031779956883459E-2</c:v>
                </c:pt>
                <c:pt idx="5">
                  <c:v>3.9118744057247593E-2</c:v>
                </c:pt>
                <c:pt idx="7">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6">
                  <c:v>5.5054676525125794E-2</c:v>
                </c:pt>
                <c:pt idx="8">
                  <c:v>7.4612851658717824E-2</c:v>
                </c:pt>
                <c:pt idx="10">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2">
                  <c:v>1.1435067702788914E-2</c:v>
                </c:pt>
                <c:pt idx="3">
                  <c:v>3.0006664176675462E-6</c:v>
                </c:pt>
                <c:pt idx="5">
                  <c:v>8.4050992718225484E-2</c:v>
                </c:pt>
                <c:pt idx="6">
                  <c:v>9.2380067240551424E-6</c:v>
                </c:pt>
                <c:pt idx="7">
                  <c:v>2.2022868584499339E-3</c:v>
                </c:pt>
                <c:pt idx="8">
                  <c:v>0.17111145156125349</c:v>
                </c:pt>
                <c:pt idx="9">
                  <c:v>3.2636461711260503E-5</c:v>
                </c:pt>
                <c:pt idx="10">
                  <c:v>4.16096680527947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25290000000000001</c:v>
                </c:pt>
                <c:pt idx="7">
                  <c:v>0.58289999999999997</c:v>
                </c:pt>
                <c:pt idx="10">
                  <c:v>0.164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0326372359036796E-2</c:v>
                </c:pt>
                <c:pt idx="3">
                  <c:v>7.2599537803512179E-2</c:v>
                </c:pt>
                <c:pt idx="5">
                  <c:v>0.29716697751487675</c:v>
                </c:pt>
                <c:pt idx="7">
                  <c:v>9.1082501661220183E-4</c:v>
                </c:pt>
                <c:pt idx="8">
                  <c:v>0.55832536105652275</c:v>
                </c:pt>
                <c:pt idx="9">
                  <c:v>4.99855733585586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5">
                  <c:v>3.4081454224107403E-2</c:v>
                </c:pt>
                <c:pt idx="8">
                  <c:v>7.8557783458637495E-2</c:v>
                </c:pt>
                <c:pt idx="9">
                  <c:v>2.213966869468540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9.4798148634116057E-3</c:v>
                </c:pt>
                <c:pt idx="3">
                  <c:v>7.2599537803512179E-2</c:v>
                </c:pt>
                <c:pt idx="5">
                  <c:v>9.908005973942835E-2</c:v>
                </c:pt>
                <c:pt idx="8">
                  <c:v>0.15379720625932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5">
                  <c:v>3.7465906228928772E-2</c:v>
                </c:pt>
                <c:pt idx="8">
                  <c:v>0.105436135671197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2">
                  <c:v>1.0815940222649742E-2</c:v>
                </c:pt>
                <c:pt idx="5">
                  <c:v>5.1972548894969002E-2</c:v>
                </c:pt>
                <c:pt idx="8">
                  <c:v>7.98482548892637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0617272975446421E-5</c:v>
                </c:pt>
                <c:pt idx="5">
                  <c:v>6.7606668752889304E-5</c:v>
                </c:pt>
                <c:pt idx="6">
                  <c:v>7.4567008427443238E-2</c:v>
                </c:pt>
                <c:pt idx="7">
                  <c:v>9.1082501661220183E-4</c:v>
                </c:pt>
                <c:pt idx="8">
                  <c:v>0.14068598077810301</c:v>
                </c:pt>
                <c:pt idx="9">
                  <c:v>2.7845904663873242E-2</c:v>
                </c:pt>
                <c:pt idx="10">
                  <c:v>4.998619502907591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3989999999999996</c:v>
                </c:pt>
                <c:pt idx="10">
                  <c:v>6.01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132416561429879E-3</c:v>
                </c:pt>
                <c:pt idx="1">
                  <c:v>7.082202882835808E-3</c:v>
                </c:pt>
                <c:pt idx="2">
                  <c:v>2.0858669724864447E-3</c:v>
                </c:pt>
                <c:pt idx="3">
                  <c:v>5.5909517785081346E-2</c:v>
                </c:pt>
                <c:pt idx="4">
                  <c:v>3.9969470512073363E-2</c:v>
                </c:pt>
                <c:pt idx="5">
                  <c:v>4.1671457423834685E-2</c:v>
                </c:pt>
                <c:pt idx="6">
                  <c:v>8.5141350822573972E-2</c:v>
                </c:pt>
                <c:pt idx="7">
                  <c:v>0.18311481008226255</c:v>
                </c:pt>
                <c:pt idx="8">
                  <c:v>0.20000586803223158</c:v>
                </c:pt>
                <c:pt idx="9">
                  <c:v>0.20650588387134461</c:v>
                </c:pt>
                <c:pt idx="10">
                  <c:v>0.175500329959132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1241799649154309</c:v>
                </c:pt>
                <c:pt idx="6">
                  <c:v>6.734849459052232E-2</c:v>
                </c:pt>
                <c:pt idx="10">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5.0850788674914535E-3</c:v>
                </c:pt>
                <c:pt idx="10">
                  <c:v>9.49460265390746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4.1538577255202636E-4</c:v>
                </c:pt>
                <c:pt idx="8">
                  <c:v>1.6386580516175055E-2</c:v>
                </c:pt>
                <c:pt idx="9">
                  <c:v>4.9042210667553085E-2</c:v>
                </c:pt>
                <c:pt idx="10">
                  <c:v>6.4707980405049659E-2</c:v>
                </c:pt>
                <c:pt idx="11">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9">
                  <c:v>6.3005853415440221E-4</c:v>
                </c:pt>
                <c:pt idx="10">
                  <c:v>9.845993218754697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9487915336276094E-3</c:v>
                </c:pt>
                <c:pt idx="1">
                  <c:v>7.0813147290244606E-3</c:v>
                </c:pt>
                <c:pt idx="3">
                  <c:v>5.5626198939646043E-2</c:v>
                </c:pt>
                <c:pt idx="4">
                  <c:v>3.9572980887611639E-3</c:v>
                </c:pt>
                <c:pt idx="5">
                  <c:v>3.9297446710332792E-2</c:v>
                </c:pt>
                <c:pt idx="6">
                  <c:v>5.4505222267807454E-3</c:v>
                </c:pt>
                <c:pt idx="7">
                  <c:v>2.4879133312688644E-2</c:v>
                </c:pt>
                <c:pt idx="8">
                  <c:v>0.19521391185656495</c:v>
                </c:pt>
                <c:pt idx="9">
                  <c:v>0.20165431703224487</c:v>
                </c:pt>
                <c:pt idx="10">
                  <c:v>3.00105285527450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sa Azzur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4">
                  <c:v>8.0315571529386721E-3</c:v>
                </c:pt>
                <c:pt idx="6">
                  <c:v>1.1385012787671881E-2</c:v>
                </c:pt>
                <c:pt idx="7">
                  <c:v>2.4798644373535281E-2</c:v>
                </c:pt>
                <c:pt idx="10">
                  <c:v>4.46982412052161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2">
                  <c:v>1.3211287943793168E-6</c:v>
                </c:pt>
                <c:pt idx="6">
                  <c:v>2.5835857039041159E-2</c:v>
                </c:pt>
                <c:pt idx="7">
                  <c:v>4.4351648061875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1.0644501225153785E-3</c:v>
                </c:pt>
                <c:pt idx="1">
                  <c:v>2.862075657067125E-6</c:v>
                </c:pt>
                <c:pt idx="3">
                  <c:v>2.83318845435305E-4</c:v>
                </c:pt>
                <c:pt idx="4">
                  <c:v>2.7980615270373529E-2</c:v>
                </c:pt>
                <c:pt idx="5">
                  <c:v>2.3740107135018949E-3</c:v>
                </c:pt>
                <c:pt idx="6">
                  <c:v>4.2469958769080191E-2</c:v>
                </c:pt>
                <c:pt idx="7">
                  <c:v>2.8810532836310913E-2</c:v>
                </c:pt>
                <c:pt idx="8">
                  <c:v>6.506680767351837E-2</c:v>
                </c:pt>
                <c:pt idx="9">
                  <c:v>4.2215083049453282E-3</c:v>
                </c:pt>
                <c:pt idx="10">
                  <c:v>9.094556698241666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1859999999999997</c:v>
                </c:pt>
                <c:pt idx="10">
                  <c:v>8.1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4975365598015995E-3</c:v>
                </c:pt>
                <c:pt idx="1">
                  <c:v>1.6379025521232942E-3</c:v>
                </c:pt>
                <c:pt idx="2">
                  <c:v>1.0219016343389E-3</c:v>
                </c:pt>
                <c:pt idx="3">
                  <c:v>5.4936688578910986E-2</c:v>
                </c:pt>
                <c:pt idx="4">
                  <c:v>3.1573981954397423E-2</c:v>
                </c:pt>
                <c:pt idx="5">
                  <c:v>3.3815989888744687E-2</c:v>
                </c:pt>
                <c:pt idx="6">
                  <c:v>9.5925986929385865E-2</c:v>
                </c:pt>
                <c:pt idx="7">
                  <c:v>0.2663326767582046</c:v>
                </c:pt>
                <c:pt idx="8">
                  <c:v>0.1653838562857024</c:v>
                </c:pt>
                <c:pt idx="9">
                  <c:v>0.18836265015202369</c:v>
                </c:pt>
                <c:pt idx="10">
                  <c:v>0.158510828706366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9">
                  <c:v>1.313980858004695E-3</c:v>
                </c:pt>
                <c:pt idx="10">
                  <c:v>1.48306400046059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1.6379025521232942E-3</c:v>
                </c:pt>
                <c:pt idx="3">
                  <c:v>5.4935686849600637E-2</c:v>
                </c:pt>
                <c:pt idx="5">
                  <c:v>3.0131992612146163E-2</c:v>
                </c:pt>
                <c:pt idx="7">
                  <c:v>0.25750047951529925</c:v>
                </c:pt>
                <c:pt idx="9">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2">
                  <c:v>6.7867160776327196E-6</c:v>
                </c:pt>
                <c:pt idx="6">
                  <c:v>2.6903631912361108E-2</c:v>
                </c:pt>
                <c:pt idx="8">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4">
                  <c:v>5.5441960843052385E-3</c:v>
                </c:pt>
                <c:pt idx="6">
                  <c:v>1.2007729243185742E-2</c:v>
                </c:pt>
                <c:pt idx="8">
                  <c:v>3.2367602000523556E-2</c:v>
                </c:pt>
                <c:pt idx="10">
                  <c:v>4.40444725741165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2">
                  <c:v>1.0151149182612673E-3</c:v>
                </c:pt>
                <c:pt idx="3">
                  <c:v>2.0159727241129542E-2</c:v>
                </c:pt>
                <c:pt idx="5">
                  <c:v>1.8604292054480952E-2</c:v>
                </c:pt>
                <c:pt idx="7">
                  <c:v>8.832197242905359E-3</c:v>
                </c:pt>
                <c:pt idx="8">
                  <c:v>8.5016879264095596E-2</c:v>
                </c:pt>
                <c:pt idx="9">
                  <c:v>7.5212591376808569E-3</c:v>
                </c:pt>
                <c:pt idx="10">
                  <c:v>9.96357161276440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5.96E-2</c:v>
                </c:pt>
                <c:pt idx="10">
                  <c:v>0.940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5.0815776284355207E-4</c:v>
                </c:pt>
                <c:pt idx="3">
                  <c:v>1.017348439062198E-3</c:v>
                </c:pt>
                <c:pt idx="4">
                  <c:v>8.2295467613508672E-2</c:v>
                </c:pt>
                <c:pt idx="6">
                  <c:v>0.1301013877493945</c:v>
                </c:pt>
                <c:pt idx="7">
                  <c:v>0.37290792522911043</c:v>
                </c:pt>
                <c:pt idx="8">
                  <c:v>1.3576844917299524E-2</c:v>
                </c:pt>
                <c:pt idx="9">
                  <c:v>0.39240664061433561</c:v>
                </c:pt>
                <c:pt idx="10">
                  <c:v>6.266275843114206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9">
                  <c:v>1.2931505572932741E-2</c:v>
                </c:pt>
                <c:pt idx="10">
                  <c:v>8.193496303674965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4">
                  <c:v>3.1739914264271918E-2</c:v>
                </c:pt>
                <c:pt idx="6">
                  <c:v>4.3716402377673984E-2</c:v>
                </c:pt>
                <c:pt idx="7">
                  <c:v>0.19798381364191134</c:v>
                </c:pt>
                <c:pt idx="9">
                  <c:v>0.24070235046383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4">
                  <c:v>4.0702129634083491E-2</c:v>
                </c:pt>
                <c:pt idx="6">
                  <c:v>3.0382577045142214E-2</c:v>
                </c:pt>
                <c:pt idx="7">
                  <c:v>7.0619147688679121E-2</c:v>
                </c:pt>
                <c:pt idx="9">
                  <c:v>6.1253348130826599E-2</c:v>
                </c:pt>
                <c:pt idx="10">
                  <c:v>3.6668424815829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6">
                  <c:v>3.9618211708881627E-2</c:v>
                </c:pt>
                <c:pt idx="7">
                  <c:v>5.42016663279126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2">
                  <c:v>5.0815776284355207E-4</c:v>
                </c:pt>
                <c:pt idx="3">
                  <c:v>9.8534237151532648E-3</c:v>
                </c:pt>
                <c:pt idx="4">
                  <c:v>1.017348439062198E-3</c:v>
                </c:pt>
                <c:pt idx="5">
                  <c:v>4.5857792083905052E-4</c:v>
                </c:pt>
                <c:pt idx="6">
                  <c:v>1.6384196617696661E-2</c:v>
                </c:pt>
                <c:pt idx="7">
                  <c:v>1.3576844917299524E-2</c:v>
                </c:pt>
                <c:pt idx="8">
                  <c:v>5.010329757060733E-2</c:v>
                </c:pt>
                <c:pt idx="9">
                  <c:v>7.7519436446736673E-2</c:v>
                </c:pt>
                <c:pt idx="10">
                  <c:v>1.780083731163778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797037320037875E-2</c:v>
                </c:pt>
                <c:pt idx="1">
                  <c:v>4.5156781419718517E-2</c:v>
                </c:pt>
                <c:pt idx="2">
                  <c:v>2.1124239287706442E-2</c:v>
                </c:pt>
                <c:pt idx="3">
                  <c:v>7.4020895482192761E-2</c:v>
                </c:pt>
                <c:pt idx="4">
                  <c:v>0.13820454776849406</c:v>
                </c:pt>
                <c:pt idx="5">
                  <c:v>0.34672443505720385</c:v>
                </c:pt>
                <c:pt idx="6">
                  <c:v>0.14139907863558362</c:v>
                </c:pt>
                <c:pt idx="7">
                  <c:v>0.13967776059534132</c:v>
                </c:pt>
                <c:pt idx="8">
                  <c:v>6.7398654515112802E-2</c:v>
                </c:pt>
                <c:pt idx="9">
                  <c:v>8.2218136030333313E-3</c:v>
                </c:pt>
                <c:pt idx="10">
                  <c:v>1.27475631557531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0">
                  <c:v>2.0238617619303347E-6</c:v>
                </c:pt>
                <c:pt idx="1">
                  <c:v>4.5156781419718517E-2</c:v>
                </c:pt>
                <c:pt idx="2">
                  <c:v>7.7398376706354953E-3</c:v>
                </c:pt>
                <c:pt idx="3">
                  <c:v>7.3947989235322156E-2</c:v>
                </c:pt>
                <c:pt idx="4">
                  <c:v>9.8064467660807352E-3</c:v>
                </c:pt>
                <c:pt idx="5">
                  <c:v>1.2902908038393035E-2</c:v>
                </c:pt>
                <c:pt idx="6">
                  <c:v>0.13706300878029487</c:v>
                </c:pt>
                <c:pt idx="7">
                  <c:v>8.0534417968524744E-3</c:v>
                </c:pt>
                <c:pt idx="8">
                  <c:v>6.7098036835201547E-2</c:v>
                </c:pt>
                <c:pt idx="9">
                  <c:v>5.3849564520267726E-4</c:v>
                </c:pt>
                <c:pt idx="10">
                  <c:v>1.267709903540859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5">
                  <c:v>8.8618861954467054E-2</c:v>
                </c:pt>
                <c:pt idx="7">
                  <c:v>6.7762173818584862E-2</c:v>
                </c:pt>
                <c:pt idx="9">
                  <c:v>2.3950582476859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3.854849497948708E-4</c:v>
                </c:pt>
                <c:pt idx="4">
                  <c:v>7.5135480004825964E-2</c:v>
                </c:pt>
                <c:pt idx="5">
                  <c:v>3.5992839927888994E-2</c:v>
                </c:pt>
                <c:pt idx="7">
                  <c:v>1.75277424898740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6795013458275946E-2</c:v>
                </c:pt>
                <c:pt idx="1">
                  <c:v>1.2998916667276076E-2</c:v>
                </c:pt>
                <c:pt idx="3">
                  <c:v>7.2906246870603749E-5</c:v>
                </c:pt>
                <c:pt idx="4">
                  <c:v>5.326262099758737E-2</c:v>
                </c:pt>
                <c:pt idx="5">
                  <c:v>4.336069855288757E-3</c:v>
                </c:pt>
                <c:pt idx="6">
                  <c:v>0.20920982513645484</c:v>
                </c:pt>
                <c:pt idx="7">
                  <c:v>3.0061767991125879E-4</c:v>
                </c:pt>
                <c:pt idx="8">
                  <c:v>4.6334402490029986E-2</c:v>
                </c:pt>
                <c:pt idx="9">
                  <c:v>7.0464120344541149E-6</c:v>
                </c:pt>
                <c:pt idx="10">
                  <c:v>5.288259710144677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30936481089647E-2</c:v>
                </c:pt>
                <c:pt idx="1">
                  <c:v>3.2843822305474016E-2</c:v>
                </c:pt>
                <c:pt idx="2">
                  <c:v>1.304152019254488E-2</c:v>
                </c:pt>
                <c:pt idx="3">
                  <c:v>6.3976002158169454E-2</c:v>
                </c:pt>
                <c:pt idx="4">
                  <c:v>0.12726869045828998</c:v>
                </c:pt>
                <c:pt idx="5">
                  <c:v>0.14107703973711477</c:v>
                </c:pt>
                <c:pt idx="6">
                  <c:v>0.36236006541336901</c:v>
                </c:pt>
                <c:pt idx="7">
                  <c:v>0.1607814740415261</c:v>
                </c:pt>
                <c:pt idx="8">
                  <c:v>7.1788863020120317E-2</c:v>
                </c:pt>
                <c:pt idx="9">
                  <c:v>1.17228640821703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1">
                  <c:v>3.2843822305474016E-2</c:v>
                </c:pt>
                <c:pt idx="3">
                  <c:v>6.3974896538575313E-2</c:v>
                </c:pt>
                <c:pt idx="5">
                  <c:v>0.14093418959066523</c:v>
                </c:pt>
                <c:pt idx="8">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6">
                  <c:v>8.3921297738606626E-2</c:v>
                </c:pt>
                <c:pt idx="7">
                  <c:v>8.2993007242709221E-2</c:v>
                </c:pt>
                <c:pt idx="9">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8.3154878141065264E-4</c:v>
                </c:pt>
                <c:pt idx="4">
                  <c:v>7.4036116742946231E-2</c:v>
                </c:pt>
                <c:pt idx="6">
                  <c:v>4.9380779319311785E-2</c:v>
                </c:pt>
                <c:pt idx="7">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5130936481089645E-2</c:v>
                </c:pt>
                <c:pt idx="1">
                  <c:v>1.2209971411134227E-2</c:v>
                </c:pt>
                <c:pt idx="3">
                  <c:v>1.1056195941344178E-6</c:v>
                </c:pt>
                <c:pt idx="4">
                  <c:v>5.3232573715343741E-2</c:v>
                </c:pt>
                <c:pt idx="5">
                  <c:v>1.4285014644955247E-4</c:v>
                </c:pt>
                <c:pt idx="6">
                  <c:v>0.22905798835545063</c:v>
                </c:pt>
                <c:pt idx="7">
                  <c:v>7.5001957356170355E-4</c:v>
                </c:pt>
                <c:pt idx="8">
                  <c:v>6.3161242415040092E-2</c:v>
                </c:pt>
                <c:pt idx="9">
                  <c:v>8.7221101315048514E-6</c:v>
                </c:pt>
                <c:pt idx="10">
                  <c:v>8.11924033614766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62381599003958E-2</c:v>
                </c:pt>
                <c:pt idx="1">
                  <c:v>6.7529882543703984E-2</c:v>
                </c:pt>
                <c:pt idx="4">
                  <c:v>0.22654494927316576</c:v>
                </c:pt>
                <c:pt idx="5">
                  <c:v>9.6450797587259059E-3</c:v>
                </c:pt>
                <c:pt idx="6">
                  <c:v>0.46446442441784896</c:v>
                </c:pt>
                <c:pt idx="7">
                  <c:v>0.18869362275035395</c:v>
                </c:pt>
                <c:pt idx="9">
                  <c:v>1.38353036387650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0.10713691627244884</c:v>
                </c:pt>
                <c:pt idx="7">
                  <c:v>6.8946896404207661E-2</c:v>
                </c:pt>
                <c:pt idx="9">
                  <c:v>3.25160080534018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5.5333232533177838E-2</c:v>
                </c:pt>
                <c:pt idx="4">
                  <c:v>7.0107424510208904E-2</c:v>
                </c:pt>
                <c:pt idx="6">
                  <c:v>9.2244802582413174E-2</c:v>
                </c:pt>
                <c:pt idx="7">
                  <c:v>5.7574974938621626E-2</c:v>
                </c:pt>
                <c:pt idx="9">
                  <c:v>3.849721919379649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1897722085289953E-2</c:v>
                </c:pt>
                <c:pt idx="4">
                  <c:v>4.9725030197845625E-2</c:v>
                </c:pt>
                <c:pt idx="6">
                  <c:v>8.697601703860236E-2</c:v>
                </c:pt>
                <c:pt idx="7">
                  <c:v>2.3761273400165282E-2</c:v>
                </c:pt>
                <c:pt idx="9">
                  <c:v>6.68690868832230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9262381599003958E-2</c:v>
                </c:pt>
                <c:pt idx="1">
                  <c:v>2.9892792523618708E-4</c:v>
                </c:pt>
                <c:pt idx="4">
                  <c:v>0.10671249456511124</c:v>
                </c:pt>
                <c:pt idx="5">
                  <c:v>9.6450797587259059E-3</c:v>
                </c:pt>
                <c:pt idx="6">
                  <c:v>0.1781066885243846</c:v>
                </c:pt>
                <c:pt idx="7">
                  <c:v>3.8410478007359375E-2</c:v>
                </c:pt>
                <c:pt idx="8">
                  <c:v>2.435601843244183E-5</c:v>
                </c:pt>
                <c:pt idx="10">
                  <c:v>4.70722257228974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9285822814956487E-3</c:v>
                </c:pt>
                <c:pt idx="3">
                  <c:v>2.2585485283414204E-2</c:v>
                </c:pt>
                <c:pt idx="4">
                  <c:v>4.9044700492439267E-2</c:v>
                </c:pt>
                <c:pt idx="5">
                  <c:v>8.0784550457186646E-2</c:v>
                </c:pt>
                <c:pt idx="6">
                  <c:v>0.1013458714656256</c:v>
                </c:pt>
                <c:pt idx="7">
                  <c:v>0.36238716688551564</c:v>
                </c:pt>
                <c:pt idx="8">
                  <c:v>0.2209832421338763</c:v>
                </c:pt>
                <c:pt idx="9">
                  <c:v>8.8186583552568476E-2</c:v>
                </c:pt>
                <c:pt idx="10">
                  <c:v>6.8646178053328483E-2</c:v>
                </c:pt>
                <c:pt idx="11">
                  <c:v>3.77164383198322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1">
                  <c:v>8.7599463244546197E-5</c:v>
                </c:pt>
                <c:pt idx="3">
                  <c:v>1.6371102859530855E-2</c:v>
                </c:pt>
                <c:pt idx="4">
                  <c:v>6.7887822797473305E-3</c:v>
                </c:pt>
                <c:pt idx="5">
                  <c:v>7.8921068711268666E-2</c:v>
                </c:pt>
                <c:pt idx="6">
                  <c:v>1.1872066463548894E-2</c:v>
                </c:pt>
                <c:pt idx="7">
                  <c:v>2.3617717232306247E-2</c:v>
                </c:pt>
                <c:pt idx="8">
                  <c:v>0.21762327162468681</c:v>
                </c:pt>
                <c:pt idx="9">
                  <c:v>7.5866185645711934E-3</c:v>
                </c:pt>
                <c:pt idx="10">
                  <c:v>6.7446858698726922E-2</c:v>
                </c:pt>
                <c:pt idx="11">
                  <c:v>3.6279483654025491E-3</c:v>
                </c:pt>
                <c:pt idx="12">
                  <c:v>7.5638070828926284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2">
                  <c:v>3.4497032775931784E-4</c:v>
                </c:pt>
                <c:pt idx="4">
                  <c:v>3.5505788445723573E-2</c:v>
                </c:pt>
                <c:pt idx="6">
                  <c:v>4.8514440208670587E-2</c:v>
                </c:pt>
                <c:pt idx="7">
                  <c:v>0.14895993286776413</c:v>
                </c:pt>
                <c:pt idx="9">
                  <c:v>8.14046427328547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4">
                  <c:v>2.3927200276801803E-3</c:v>
                </c:pt>
                <c:pt idx="6">
                  <c:v>2.4115749724647358E-2</c:v>
                </c:pt>
                <c:pt idx="7">
                  <c:v>5.2993314390311158E-2</c:v>
                </c:pt>
                <c:pt idx="9">
                  <c:v>6.364195018978527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4">
                  <c:v>4.3574097392881806E-3</c:v>
                </c:pt>
                <c:pt idx="6">
                  <c:v>1.6843615068758758E-2</c:v>
                </c:pt>
                <c:pt idx="7">
                  <c:v>0.13681620239513415</c:v>
                </c:pt>
                <c:pt idx="8">
                  <c:v>3.35997050918948E-3</c:v>
                </c:pt>
                <c:pt idx="9">
                  <c:v>7.18230812128139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3462412004632861</c:v>
                </c:pt>
                <c:pt idx="6">
                  <c:v>6.1306354692189528E-2</c:v>
                </c:pt>
                <c:pt idx="7">
                  <c:v>2.5558696901447086E-2</c:v>
                </c:pt>
                <c:pt idx="9">
                  <c:v>4.8202240786807821E-3</c:v>
                </c:pt>
                <c:pt idx="10">
                  <c:v>0.4736906042813540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1026893100549375E-3</c:v>
                </c:pt>
                <c:pt idx="3">
                  <c:v>4.916947487787493E-2</c:v>
                </c:pt>
                <c:pt idx="4">
                  <c:v>4.3007935502443258E-2</c:v>
                </c:pt>
                <c:pt idx="5">
                  <c:v>8.8371883951689795E-2</c:v>
                </c:pt>
                <c:pt idx="6">
                  <c:v>5.5873027350611768E-2</c:v>
                </c:pt>
                <c:pt idx="7">
                  <c:v>0.36146768532776002</c:v>
                </c:pt>
                <c:pt idx="8">
                  <c:v>0.20540382508378988</c:v>
                </c:pt>
                <c:pt idx="9">
                  <c:v>0.10628330882040933</c:v>
                </c:pt>
                <c:pt idx="10">
                  <c:v>8.74389359460932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4">
                  <c:v>4.3007935502443258E-2</c:v>
                </c:pt>
                <c:pt idx="6">
                  <c:v>5.2165348389913241E-2</c:v>
                </c:pt>
                <c:pt idx="8">
                  <c:v>0.20214649925508837</c:v>
                </c:pt>
                <c:pt idx="9">
                  <c:v>0.103724412515582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2">
                  <c:v>3.0785858632611054E-5</c:v>
                </c:pt>
                <c:pt idx="3">
                  <c:v>3.7643461722091778E-2</c:v>
                </c:pt>
                <c:pt idx="5">
                  <c:v>5.2246089232947733E-2</c:v>
                </c:pt>
                <c:pt idx="7">
                  <c:v>0.16377976700594907</c:v>
                </c:pt>
                <c:pt idx="10">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6.761514813472729E-3</c:v>
                </c:pt>
                <c:pt idx="5">
                  <c:v>2.2774164980597478E-2</c:v>
                </c:pt>
                <c:pt idx="7">
                  <c:v>2.97416569034042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6">
                  <c:v>4.5059274606916904E-3</c:v>
                </c:pt>
                <c:pt idx="7">
                  <c:v>9.5431915435765638E-2</c:v>
                </c:pt>
                <c:pt idx="8">
                  <c:v>7.5771671811342561E-2</c:v>
                </c:pt>
                <c:pt idx="9">
                  <c:v>1.60806520341733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5553742015450741E-3</c:v>
                </c:pt>
                <c:pt idx="3">
                  <c:v>0.10056376439324646</c:v>
                </c:pt>
                <c:pt idx="5">
                  <c:v>0.20390060448269487</c:v>
                </c:pt>
                <c:pt idx="7">
                  <c:v>1.1403440221557173E-2</c:v>
                </c:pt>
                <c:pt idx="8">
                  <c:v>0.5480297958742949</c:v>
                </c:pt>
                <c:pt idx="9">
                  <c:v>0.10372738096186646</c:v>
                </c:pt>
                <c:pt idx="12">
                  <c:v>2.87023598520529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4.5815978632429484E-2</c:v>
                </c:pt>
                <c:pt idx="5">
                  <c:v>7.6385241605657572E-2</c:v>
                </c:pt>
                <c:pt idx="8">
                  <c:v>0.19863748728436206</c:v>
                </c:pt>
                <c:pt idx="9">
                  <c:v>3.43597467050027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3709339543574292E-2</c:v>
                </c:pt>
                <c:pt idx="5">
                  <c:v>9.3925668571629539E-2</c:v>
                </c:pt>
                <c:pt idx="8">
                  <c:v>0.18685064975207327</c:v>
                </c:pt>
                <c:pt idx="9">
                  <c:v>6.00227565615086E-2</c:v>
                </c:pt>
                <c:pt idx="12">
                  <c:v>2.87023598520529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2.6727910802191755E-2</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5553742015450741E-3</c:v>
                </c:pt>
                <c:pt idx="3">
                  <c:v>1.0384462172426975E-3</c:v>
                </c:pt>
                <c:pt idx="5">
                  <c:v>6.8617835032159964E-3</c:v>
                </c:pt>
                <c:pt idx="7">
                  <c:v>1.1403440221557173E-2</c:v>
                </c:pt>
                <c:pt idx="8">
                  <c:v>9.3091049364484021E-2</c:v>
                </c:pt>
                <c:pt idx="9">
                  <c:v>1.1728001274223003E-4</c:v>
                </c:pt>
                <c:pt idx="10">
                  <c:v>4.02686497298575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5.3856141960207543E-4</c:v>
                </c:pt>
                <c:pt idx="1">
                  <c:v>1.5620317363869789E-3</c:v>
                </c:pt>
                <c:pt idx="4">
                  <c:v>5.5489759458103149E-3</c:v>
                </c:pt>
                <c:pt idx="6">
                  <c:v>3.3668270305480336E-2</c:v>
                </c:pt>
                <c:pt idx="7">
                  <c:v>0.29686173713080344</c:v>
                </c:pt>
                <c:pt idx="8">
                  <c:v>0.59156903232339997</c:v>
                </c:pt>
                <c:pt idx="9">
                  <c:v>6.0845125112677659E-2</c:v>
                </c:pt>
                <c:pt idx="10">
                  <c:v>9.39993664733703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0">
                  <c:v>1.9993966973793626E-5</c:v>
                </c:pt>
                <c:pt idx="7">
                  <c:v>0.28963363594631669</c:v>
                </c:pt>
                <c:pt idx="8">
                  <c:v>3.462449710879878E-2</c:v>
                </c:pt>
                <c:pt idx="9">
                  <c:v>3.0561085175378738E-3</c:v>
                </c:pt>
                <c:pt idx="10">
                  <c:v>9.072845160635700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8">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6">
                  <c:v>9.3137540633138035E-4</c:v>
                </c:pt>
                <c:pt idx="8">
                  <c:v>0.16433112599937943</c:v>
                </c:pt>
                <c:pt idx="9">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0">
                  <c:v>5.185674526282818E-4</c:v>
                </c:pt>
                <c:pt idx="1">
                  <c:v>1.5620317363869789E-3</c:v>
                </c:pt>
                <c:pt idx="3">
                  <c:v>5.8141965310295576E-6</c:v>
                </c:pt>
                <c:pt idx="4">
                  <c:v>5.5489759458103149E-3</c:v>
                </c:pt>
                <c:pt idx="5">
                  <c:v>5.1518197110388487E-7</c:v>
                </c:pt>
                <c:pt idx="6">
                  <c:v>3.2736894899148959E-2</c:v>
                </c:pt>
                <c:pt idx="7">
                  <c:v>7.2281011844867625E-3</c:v>
                </c:pt>
                <c:pt idx="8">
                  <c:v>0.20961527780476349</c:v>
                </c:pt>
                <c:pt idx="9">
                  <c:v>3.2709148670133793E-4</c:v>
                </c:pt>
                <c:pt idx="10">
                  <c:v>4.07256990626828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450492937243368E-3</c:v>
                </c:pt>
                <c:pt idx="1">
                  <c:v>2.2320532191512647E-3</c:v>
                </c:pt>
                <c:pt idx="4">
                  <c:v>5.5221708815645486E-3</c:v>
                </c:pt>
                <c:pt idx="6">
                  <c:v>3.2054568203037939E-2</c:v>
                </c:pt>
                <c:pt idx="7">
                  <c:v>0.60939570637605789</c:v>
                </c:pt>
                <c:pt idx="8">
                  <c:v>0.23745240670836387</c:v>
                </c:pt>
                <c:pt idx="9">
                  <c:v>9.4823594225305452E-2</c:v>
                </c:pt>
                <c:pt idx="10">
                  <c:v>1.72744510927946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5">
                  <c:v>0.43462412004632861</c:v>
                </c:pt>
                <c:pt idx="6">
                  <c:v>6.0976747951362341E-2</c:v>
                </c:pt>
                <c:pt idx="10">
                  <c:v>8.0574973105906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10">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9">
                  <c:v>4.8202240786807821E-3</c:v>
                </c:pt>
                <c:pt idx="10">
                  <c:v>0.112774616966921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5">
                  <c:v>3.2960674082718516E-4</c:v>
                </c:pt>
                <c:pt idx="8">
                  <c:v>2.5558696901447086E-2</c:v>
                </c:pt>
                <c:pt idx="9">
                  <c:v>0.136615206290198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0">
                  <c:v>1.2784618550905057E-4</c:v>
                </c:pt>
                <c:pt idx="8">
                  <c:v>0.20313096092644092</c:v>
                </c:pt>
                <c:pt idx="10">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7">
                  <c:v>0.17623447649261598</c:v>
                </c:pt>
                <c:pt idx="9">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7">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1172031082152861E-3</c:v>
                </c:pt>
                <c:pt idx="1">
                  <c:v>2.2320532191512647E-3</c:v>
                </c:pt>
                <c:pt idx="4">
                  <c:v>5.5221708815645486E-3</c:v>
                </c:pt>
                <c:pt idx="6">
                  <c:v>3.2054568203037939E-2</c:v>
                </c:pt>
                <c:pt idx="7">
                  <c:v>3.4321445781922956E-2</c:v>
                </c:pt>
                <c:pt idx="8">
                  <c:v>0.26687961814932687</c:v>
                </c:pt>
                <c:pt idx="9">
                  <c:v>7.2111523286516003E-4</c:v>
                </c:pt>
                <c:pt idx="10">
                  <c:v>7.419078854899756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7239854391077266E-2</c:v>
                </c:pt>
                <c:pt idx="7">
                  <c:v>0.86683859195054513</c:v>
                </c:pt>
                <c:pt idx="10">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7">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7">
                  <c:v>0.26279747884294907</c:v>
                </c:pt>
                <c:pt idx="10">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7">
                  <c:v>0.15900475742707917</c:v>
                </c:pt>
                <c:pt idx="10">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5">
                  <c:v>4.7239854391077266E-2</c:v>
                </c:pt>
                <c:pt idx="7">
                  <c:v>0.17733099961828863</c:v>
                </c:pt>
                <c:pt idx="10">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222901626161E-3</c:v>
                </c:pt>
                <c:pt idx="1">
                  <c:v>0.10369318788070768</c:v>
                </c:pt>
                <c:pt idx="4">
                  <c:v>1.3292401962814945E-2</c:v>
                </c:pt>
                <c:pt idx="6">
                  <c:v>0.39927586436066009</c:v>
                </c:pt>
                <c:pt idx="7">
                  <c:v>9.5854667596162132E-4</c:v>
                </c:pt>
                <c:pt idx="8">
                  <c:v>0.46448408106322292</c:v>
                </c:pt>
                <c:pt idx="10">
                  <c:v>1.67815965063652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3.0873767694925502E-2</c:v>
                </c:pt>
                <c:pt idx="4">
                  <c:v>6.9394030721051546E-3</c:v>
                </c:pt>
                <c:pt idx="6">
                  <c:v>0.15293693630104779</c:v>
                </c:pt>
                <c:pt idx="8">
                  <c:v>0.21729599671011116</c:v>
                </c:pt>
                <c:pt idx="10">
                  <c:v>9.31428620820762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1">
                  <c:v>4.5296979286805553E-2</c:v>
                </c:pt>
                <c:pt idx="6">
                  <c:v>8.96656825477472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9173592602168737E-3</c:v>
                </c:pt>
                <c:pt idx="6">
                  <c:v>6.2221177813062453E-2</c:v>
                </c:pt>
                <c:pt idx="8">
                  <c:v>8.5705392045626327E-3</c:v>
                </c:pt>
                <c:pt idx="10">
                  <c:v>2.749464498212148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4671222901626161E-3</c:v>
                </c:pt>
                <c:pt idx="1">
                  <c:v>2.3605081638759746E-2</c:v>
                </c:pt>
                <c:pt idx="4">
                  <c:v>6.352998890709791E-3</c:v>
                </c:pt>
                <c:pt idx="5">
                  <c:v>4.7199260104972445E-5</c:v>
                </c:pt>
                <c:pt idx="6">
                  <c:v>9.4452067698802586E-2</c:v>
                </c:pt>
                <c:pt idx="7">
                  <c:v>0.2386175451485491</c:v>
                </c:pt>
                <c:pt idx="8">
                  <c:v>9.5854667596162121E-4</c:v>
                </c:pt>
                <c:pt idx="10">
                  <c:v>7.19236384833643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38887234618E-3</c:v>
                </c:pt>
                <c:pt idx="1">
                  <c:v>0.10371095193438469</c:v>
                </c:pt>
                <c:pt idx="4">
                  <c:v>1.3285795569918612E-2</c:v>
                </c:pt>
                <c:pt idx="6">
                  <c:v>0.39936557319765603</c:v>
                </c:pt>
                <c:pt idx="7">
                  <c:v>9.4392691678762779E-4</c:v>
                </c:pt>
                <c:pt idx="8">
                  <c:v>0.46443195410199767</c:v>
                </c:pt>
                <c:pt idx="10">
                  <c:v>1.67507474712976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3.0882242148412248E-2</c:v>
                </c:pt>
                <c:pt idx="4">
                  <c:v>6.9385139832919447E-3</c:v>
                </c:pt>
                <c:pt idx="6">
                  <c:v>0.15297897896174137</c:v>
                </c:pt>
                <c:pt idx="8">
                  <c:v>0.21735550502655165</c:v>
                </c:pt>
                <c:pt idx="10">
                  <c:v>9.316789349780691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1">
                  <c:v>4.5309604154125105E-2</c:v>
                </c:pt>
                <c:pt idx="6">
                  <c:v>8.9690636213414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918349657996454E-3</c:v>
                </c:pt>
                <c:pt idx="6">
                  <c:v>6.2262511489209652E-2</c:v>
                </c:pt>
                <c:pt idx="8">
                  <c:v>8.572833875894293E-3</c:v>
                </c:pt>
                <c:pt idx="10">
                  <c:v>2.692475204473849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467138887234618E-3</c:v>
                </c:pt>
                <c:pt idx="1">
                  <c:v>2.3600755973850883E-2</c:v>
                </c:pt>
                <c:pt idx="4">
                  <c:v>6.3472815866266671E-3</c:v>
                </c:pt>
                <c:pt idx="5">
                  <c:v>4.3911920723197764E-5</c:v>
                </c:pt>
                <c:pt idx="6">
                  <c:v>9.443344653329018E-2</c:v>
                </c:pt>
                <c:pt idx="7">
                  <c:v>0.23850361519955171</c:v>
                </c:pt>
                <c:pt idx="8">
                  <c:v>9.4392691678762779E-4</c:v>
                </c:pt>
                <c:pt idx="10">
                  <c:v>7.16471060106952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403361837539186E-3</c:v>
                </c:pt>
                <c:pt idx="1">
                  <c:v>4.9156687201813688E-2</c:v>
                </c:pt>
                <c:pt idx="3">
                  <c:v>1.5322460926377875E-2</c:v>
                </c:pt>
                <c:pt idx="4">
                  <c:v>3.6291236589418288E-3</c:v>
                </c:pt>
                <c:pt idx="5">
                  <c:v>0.43551058204344495</c:v>
                </c:pt>
                <c:pt idx="8">
                  <c:v>0.47945154934812423</c:v>
                </c:pt>
                <c:pt idx="10">
                  <c:v>1.51892606375435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4">
                  <c:v>4.5491540256818513E-3</c:v>
                </c:pt>
                <c:pt idx="5">
                  <c:v>2.3582829491734956E-3</c:v>
                </c:pt>
                <c:pt idx="7">
                  <c:v>6.0470127345829268E-8</c:v>
                </c:pt>
                <c:pt idx="8">
                  <c:v>8.1264471196392657E-3</c:v>
                </c:pt>
                <c:pt idx="10">
                  <c:v>4.013192982254458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3.0947629348796581E-3</c:v>
                </c:pt>
                <c:pt idx="1">
                  <c:v>1.1499744564103737E-2</c:v>
                </c:pt>
                <c:pt idx="2">
                  <c:v>1.0875392449907319E-2</c:v>
                </c:pt>
                <c:pt idx="3">
                  <c:v>3.8551754364698841E-2</c:v>
                </c:pt>
                <c:pt idx="4">
                  <c:v>1.3322018353834533E-2</c:v>
                </c:pt>
                <c:pt idx="5">
                  <c:v>1.6020932131212778E-2</c:v>
                </c:pt>
                <c:pt idx="6">
                  <c:v>5.7226877087278027E-2</c:v>
                </c:pt>
                <c:pt idx="7">
                  <c:v>0.12168005598285377</c:v>
                </c:pt>
                <c:pt idx="8">
                  <c:v>4.2306663177648689E-2</c:v>
                </c:pt>
                <c:pt idx="9">
                  <c:v>7.1515029916798992E-2</c:v>
                </c:pt>
                <c:pt idx="10">
                  <c:v>1.8689465846655762E-2</c:v>
                </c:pt>
                <c:pt idx="11">
                  <c:v>8.9829674605075528E-4</c:v>
                </c:pt>
                <c:pt idx="12">
                  <c:v>9.9131995861775595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2.6593851703703411E-6</c:v>
                </c:pt>
                <c:pt idx="2">
                  <c:v>4.5212148761988093E-5</c:v>
                </c:pt>
                <c:pt idx="4">
                  <c:v>4.6534233815023309E-3</c:v>
                </c:pt>
                <c:pt idx="5">
                  <c:v>6.3583500124953715E-3</c:v>
                </c:pt>
                <c:pt idx="8">
                  <c:v>1.9697589348295005E-2</c:v>
                </c:pt>
                <c:pt idx="10">
                  <c:v>1.479045346915868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1.7287824213391823E-4</c:v>
                </c:pt>
                <c:pt idx="2">
                  <c:v>1.5732747109476709E-3</c:v>
                </c:pt>
                <c:pt idx="4">
                  <c:v>1.0067187740788349E-2</c:v>
                </c:pt>
                <c:pt idx="5">
                  <c:v>1.8507375338239738E-2</c:v>
                </c:pt>
                <c:pt idx="6">
                  <c:v>5.6816106113083506E-4</c:v>
                </c:pt>
                <c:pt idx="8">
                  <c:v>1.5755018322399821E-2</c:v>
                </c:pt>
                <c:pt idx="10">
                  <c:v>1.94716671005831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3.9620905229158492E-3</c:v>
                </c:pt>
                <c:pt idx="1">
                  <c:v>1.76032767110459E-3</c:v>
                </c:pt>
                <c:pt idx="2">
                  <c:v>1.7535494900022607E-2</c:v>
                </c:pt>
                <c:pt idx="3">
                  <c:v>2.9861657385472024E-3</c:v>
                </c:pt>
                <c:pt idx="4">
                  <c:v>4.2970487330024204E-2</c:v>
                </c:pt>
                <c:pt idx="5">
                  <c:v>2.6414271680896877E-2</c:v>
                </c:pt>
                <c:pt idx="6">
                  <c:v>0.11720839149939169</c:v>
                </c:pt>
                <c:pt idx="7">
                  <c:v>3.6129392587031461E-3</c:v>
                </c:pt>
                <c:pt idx="8">
                  <c:v>0.18205592730577791</c:v>
                </c:pt>
                <c:pt idx="9">
                  <c:v>2.3198551585698556E-3</c:v>
                </c:pt>
                <c:pt idx="10">
                  <c:v>9.3391142081511752E-2</c:v>
                </c:pt>
                <c:pt idx="11">
                  <c:v>8.09499940233731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4932892513762492</c:v>
                </c:pt>
                <c:pt idx="8">
                  <c:v>0.2219943317926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4809990341441659</c:v>
                </c:pt>
                <c:pt idx="8">
                  <c:v>0.1997982193962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527730319964803E-2</c:v>
                </c:pt>
                <c:pt idx="5">
                  <c:v>9.6295322382211525E-3</c:v>
                </c:pt>
                <c:pt idx="8">
                  <c:v>6.8906243600574766E-3</c:v>
                </c:pt>
                <c:pt idx="10">
                  <c:v>4.42352870564617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7403361837539186E-3</c:v>
                </c:pt>
                <c:pt idx="1">
                  <c:v>1.5628956881848885E-2</c:v>
                </c:pt>
                <c:pt idx="3">
                  <c:v>3.6291236589418288E-3</c:v>
                </c:pt>
                <c:pt idx="4">
                  <c:v>1.5322460926377875E-2</c:v>
                </c:pt>
                <c:pt idx="5">
                  <c:v>2.8452221253182263E-2</c:v>
                </c:pt>
                <c:pt idx="8">
                  <c:v>5.0768373799121913E-2</c:v>
                </c:pt>
                <c:pt idx="10">
                  <c:v>1.076573193189738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317326504995634E-3</c:v>
                </c:pt>
                <c:pt idx="1">
                  <c:v>4.9172102605190303E-2</c:v>
                </c:pt>
                <c:pt idx="3">
                  <c:v>1.5327587220883452E-2</c:v>
                </c:pt>
                <c:pt idx="4">
                  <c:v>3.6267341626128333E-3</c:v>
                </c:pt>
                <c:pt idx="5">
                  <c:v>0.43558655845726546</c:v>
                </c:pt>
                <c:pt idx="8">
                  <c:v>0.47936451378975942</c:v>
                </c:pt>
                <c:pt idx="10">
                  <c:v>1.51907711137889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4941711663007163</c:v>
                </c:pt>
                <c:pt idx="8">
                  <c:v>0.22206706007039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4815215821257138</c:v>
                </c:pt>
                <c:pt idx="8">
                  <c:v>0.199869015802506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538770756492184E-2</c:v>
                </c:pt>
                <c:pt idx="5">
                  <c:v>9.6304021138580685E-3</c:v>
                </c:pt>
                <c:pt idx="8">
                  <c:v>6.8457267974277591E-3</c:v>
                </c:pt>
                <c:pt idx="10">
                  <c:v>4.42437698841664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7317326504995634E-3</c:v>
                </c:pt>
                <c:pt idx="1">
                  <c:v>1.5633331848698119E-2</c:v>
                </c:pt>
                <c:pt idx="3">
                  <c:v>3.6267341626128333E-3</c:v>
                </c:pt>
                <c:pt idx="4">
                  <c:v>1.5327587220883452E-2</c:v>
                </c:pt>
                <c:pt idx="5">
                  <c:v>2.8386881500764422E-2</c:v>
                </c:pt>
                <c:pt idx="8">
                  <c:v>5.0582711119433819E-2</c:v>
                </c:pt>
                <c:pt idx="10">
                  <c:v>1.07663941253722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4959999999999999</c:v>
                </c:pt>
                <c:pt idx="6">
                  <c:v>0.12939999999999999</c:v>
                </c:pt>
                <c:pt idx="8">
                  <c:v>0.43070000000000003</c:v>
                </c:pt>
                <c:pt idx="10">
                  <c:v>0.19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8.2098172766123009E-2</c:v>
                </c:pt>
                <c:pt idx="2">
                  <c:v>2.766692599215401E-2</c:v>
                </c:pt>
                <c:pt idx="3">
                  <c:v>8.807155321736132E-2</c:v>
                </c:pt>
                <c:pt idx="4">
                  <c:v>0.12152540134740045</c:v>
                </c:pt>
                <c:pt idx="5">
                  <c:v>0.16399541584917099</c:v>
                </c:pt>
                <c:pt idx="6">
                  <c:v>3.8970122847494021E-3</c:v>
                </c:pt>
                <c:pt idx="7">
                  <c:v>0.26606437773631458</c:v>
                </c:pt>
                <c:pt idx="8">
                  <c:v>6.62353207000244E-2</c:v>
                </c:pt>
                <c:pt idx="9">
                  <c:v>0.16673327506438138</c:v>
                </c:pt>
                <c:pt idx="10">
                  <c:v>1.32274005740533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B$2:$B$14</c:f>
              <c:numCache>
                <c:formatCode>General</c:formatCode>
                <c:ptCount val="13"/>
                <c:pt idx="4">
                  <c:v>5.1006066755415164E-2</c:v>
                </c:pt>
                <c:pt idx="5">
                  <c:v>2.6441561849660927E-2</c:v>
                </c:pt>
                <c:pt idx="7">
                  <c:v>8.8038928844814568E-2</c:v>
                </c:pt>
                <c:pt idx="8">
                  <c:v>6.7800371996582948E-7</c:v>
                </c:pt>
                <c:pt idx="9">
                  <c:v>3.889885955327180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2">
                  <c:v>1.970710399685453E-2</c:v>
                </c:pt>
                <c:pt idx="3">
                  <c:v>2.2345573699008005E-2</c:v>
                </c:pt>
                <c:pt idx="4">
                  <c:v>3.8012679529826144E-3</c:v>
                </c:pt>
                <c:pt idx="5">
                  <c:v>9.485304119917308E-2</c:v>
                </c:pt>
                <c:pt idx="7">
                  <c:v>3.6068048215162865E-2</c:v>
                </c:pt>
                <c:pt idx="8">
                  <c:v>8.9231340548444789E-3</c:v>
                </c:pt>
                <c:pt idx="9">
                  <c:v>7.2555569312469745E-2</c:v>
                </c:pt>
                <c:pt idx="10">
                  <c:v>5.036598021122936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1">
                  <c:v>8.2098172766123009E-2</c:v>
                </c:pt>
                <c:pt idx="4">
                  <c:v>5.7943830949497767E-2</c:v>
                </c:pt>
                <c:pt idx="5">
                  <c:v>4.2700812800336968E-2</c:v>
                </c:pt>
                <c:pt idx="6">
                  <c:v>2.1142051482805436E-7</c:v>
                </c:pt>
                <c:pt idx="7">
                  <c:v>6.5590918261191081E-2</c:v>
                </c:pt>
                <c:pt idx="9">
                  <c:v>1.2428449738880718E-2</c:v>
                </c:pt>
                <c:pt idx="10">
                  <c:v>3.8638921675472004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7.9598219952994806E-3</c:v>
                </c:pt>
                <c:pt idx="3">
                  <c:v>6.5725979518353309E-2</c:v>
                </c:pt>
                <c:pt idx="4">
                  <c:v>6.2167108830802342E-3</c:v>
                </c:pt>
                <c:pt idx="6">
                  <c:v>3.8968008642345738E-3</c:v>
                </c:pt>
                <c:pt idx="7">
                  <c:v>1.0135185995265973E-2</c:v>
                </c:pt>
                <c:pt idx="8">
                  <c:v>5.7311508641459959E-2</c:v>
                </c:pt>
                <c:pt idx="9">
                  <c:v>1.558548293136935E-3</c:v>
                </c:pt>
                <c:pt idx="10">
                  <c:v>8.190416163713664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4">
                  <c:v>2.5575248064246526E-3</c:v>
                </c:pt>
                <c:pt idx="7">
                  <c:v>6.6231296419880084E-2</c:v>
                </c:pt>
                <c:pt idx="10">
                  <c:v>4.12918481666221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0.34279999999999999</c:v>
                </c:pt>
                <c:pt idx="6">
                  <c:v>8.2699999999999996E-2</c:v>
                </c:pt>
                <c:pt idx="7">
                  <c:v>0.34910000000000002</c:v>
                </c:pt>
                <c:pt idx="10">
                  <c:v>0.225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5.4175372255002754E-2</c:v>
                </c:pt>
                <c:pt idx="2">
                  <c:v>9.2660402847081449E-2</c:v>
                </c:pt>
                <c:pt idx="3">
                  <c:v>0.16479500394095559</c:v>
                </c:pt>
                <c:pt idx="4">
                  <c:v>7.0594690426060286E-2</c:v>
                </c:pt>
                <c:pt idx="5">
                  <c:v>0.10830141278533575</c:v>
                </c:pt>
                <c:pt idx="6">
                  <c:v>8.9757687778646202E-3</c:v>
                </c:pt>
                <c:pt idx="7">
                  <c:v>4.2644153977669061E-2</c:v>
                </c:pt>
                <c:pt idx="8">
                  <c:v>0.22660645577361263</c:v>
                </c:pt>
                <c:pt idx="9">
                  <c:v>0.20492307455652828</c:v>
                </c:pt>
                <c:pt idx="10">
                  <c:v>2.5445783256084872E-2</c:v>
                </c:pt>
                <c:pt idx="11">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3">
                  <c:v>7.8311404423753145E-2</c:v>
                </c:pt>
                <c:pt idx="5">
                  <c:v>1.8882348219866989E-2</c:v>
                </c:pt>
                <c:pt idx="8">
                  <c:v>7.9747482769148073E-2</c:v>
                </c:pt>
                <c:pt idx="9">
                  <c:v>5.15153874663759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2">
                  <c:v>9.2660402847081449E-2</c:v>
                </c:pt>
                <c:pt idx="3">
                  <c:v>7.7800554359570215E-2</c:v>
                </c:pt>
                <c:pt idx="5">
                  <c:v>8.6251124281583498E-3</c:v>
                </c:pt>
                <c:pt idx="8">
                  <c:v>8.4284223346426851E-2</c:v>
                </c:pt>
                <c:pt idx="9">
                  <c:v>1.5077396017676884E-2</c:v>
                </c:pt>
                <c:pt idx="11">
                  <c:v>3.0384703509925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1">
                  <c:v>3.6790219135821485E-2</c:v>
                </c:pt>
                <c:pt idx="3">
                  <c:v>8.6292888776065019E-3</c:v>
                </c:pt>
                <c:pt idx="4">
                  <c:v>4.5375841373653247E-2</c:v>
                </c:pt>
                <c:pt idx="5">
                  <c:v>8.0793952137310415E-2</c:v>
                </c:pt>
                <c:pt idx="7">
                  <c:v>9.4967084822985322E-3</c:v>
                </c:pt>
                <c:pt idx="8">
                  <c:v>7.3397997727432589E-5</c:v>
                </c:pt>
                <c:pt idx="9">
                  <c:v>8.746551999834927E-2</c:v>
                </c:pt>
                <c:pt idx="10">
                  <c:v>6.5896515604765803E-3</c:v>
                </c:pt>
                <c:pt idx="11">
                  <c:v>5.740343687054756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8">
                  <c:v>4.876471996844424E-2</c:v>
                </c:pt>
                <c:pt idx="9">
                  <c:v>4.69606592107808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2">
                  <c:v>1.7385153119181269E-2</c:v>
                </c:pt>
                <c:pt idx="3">
                  <c:v>2.5218849052407039E-2</c:v>
                </c:pt>
                <c:pt idx="4">
                  <c:v>5.3756280025725276E-5</c:v>
                </c:pt>
                <c:pt idx="6">
                  <c:v>8.9757687778646202E-3</c:v>
                </c:pt>
                <c:pt idx="7">
                  <c:v>3.3147445495370527E-2</c:v>
                </c:pt>
                <c:pt idx="8">
                  <c:v>1.3736631691866025E-2</c:v>
                </c:pt>
                <c:pt idx="9">
                  <c:v>1.8856131695608291E-2</c:v>
                </c:pt>
                <c:pt idx="10">
                  <c:v>3.904111863345250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0.32469999999999999</c:v>
                </c:pt>
                <c:pt idx="5">
                  <c:v>7.8299999999999995E-2</c:v>
                </c:pt>
                <c:pt idx="7">
                  <c:v>0.35499999999999998</c:v>
                </c:pt>
                <c:pt idx="10">
                  <c:v>0.241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0.25340000000000001</c:v>
                </c:pt>
                <c:pt idx="6">
                  <c:v>0.17319999999999999</c:v>
                </c:pt>
                <c:pt idx="7">
                  <c:v>0.38869999999999999</c:v>
                </c:pt>
                <c:pt idx="10">
                  <c:v>0.184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8.5517319788469048E-2</c:v>
                </c:pt>
                <c:pt idx="3">
                  <c:v>0.17813299245834574</c:v>
                </c:pt>
                <c:pt idx="5">
                  <c:v>0.21442455324174367</c:v>
                </c:pt>
                <c:pt idx="7">
                  <c:v>1.1509498510208325E-2</c:v>
                </c:pt>
                <c:pt idx="8">
                  <c:v>0.3229479643269409</c:v>
                </c:pt>
                <c:pt idx="9">
                  <c:v>0.18285423394799405</c:v>
                </c:pt>
                <c:pt idx="10">
                  <c:v>4.182120246519808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3">
                  <c:v>5.9352859898126727E-2</c:v>
                </c:pt>
                <c:pt idx="5">
                  <c:v>4.056330411108755E-2</c:v>
                </c:pt>
                <c:pt idx="8">
                  <c:v>9.1037794309395265E-2</c:v>
                </c:pt>
                <c:pt idx="9">
                  <c:v>4.32396029543864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3">
                  <c:v>9.6280795771019693E-6</c:v>
                </c:pt>
                <c:pt idx="5">
                  <c:v>0.14542215544022347</c:v>
                </c:pt>
                <c:pt idx="7">
                  <c:v>1.1509498510208325E-2</c:v>
                </c:pt>
                <c:pt idx="8">
                  <c:v>2.0690128452921253E-5</c:v>
                </c:pt>
                <c:pt idx="9">
                  <c:v>7.9819647632772758E-2</c:v>
                </c:pt>
                <c:pt idx="10">
                  <c:v>4.182120246519808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2">
                  <c:v>8.5517319788469048E-2</c:v>
                </c:pt>
                <c:pt idx="3">
                  <c:v>7.5099891325612428E-2</c:v>
                </c:pt>
                <c:pt idx="5">
                  <c:v>2.8439093690432658E-2</c:v>
                </c:pt>
                <c:pt idx="8">
                  <c:v>9.4755564569076856E-2</c:v>
                </c:pt>
                <c:pt idx="9">
                  <c:v>5.982980832951794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3">
                  <c:v>4.3670613155029493E-2</c:v>
                </c:pt>
                <c:pt idx="8">
                  <c:v>7.1197190239585539E-2</c:v>
                </c:pt>
                <c:pt idx="9">
                  <c:v>1.0948253169328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8">
                  <c:v>6.5936725080430317E-2</c:v>
                </c:pt>
                <c:pt idx="9">
                  <c:v>4.28637493585548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0.33529999999999999</c:v>
                </c:pt>
                <c:pt idx="10">
                  <c:v>0.664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5548079169897273E-2</c:v>
                </c:pt>
                <c:pt idx="3">
                  <c:v>4.2169192354775738E-2</c:v>
                </c:pt>
                <c:pt idx="5">
                  <c:v>7.586484225238363E-2</c:v>
                </c:pt>
                <c:pt idx="6">
                  <c:v>0.23572846538239825</c:v>
                </c:pt>
                <c:pt idx="7">
                  <c:v>9.2131775395986173E-2</c:v>
                </c:pt>
                <c:pt idx="8">
                  <c:v>0.46044242473977526</c:v>
                </c:pt>
                <c:pt idx="9">
                  <c:v>5.260292959458459E-2</c:v>
                </c:pt>
                <c:pt idx="10">
                  <c:v>5.494673503404328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8">
                  <c:v>2.4145962907951308E-3</c:v>
                </c:pt>
                <c:pt idx="9">
                  <c:v>4.78595248592671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2">
                  <c:v>1.614172168225475E-2</c:v>
                </c:pt>
                <c:pt idx="3">
                  <c:v>4.2149154401220919E-2</c:v>
                </c:pt>
                <c:pt idx="6">
                  <c:v>8.9580346546279041E-2</c:v>
                </c:pt>
                <c:pt idx="8">
                  <c:v>0.1482451232902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5">
                  <c:v>7.5741427455061003E-2</c:v>
                </c:pt>
                <c:pt idx="6">
                  <c:v>5.5174178967168346E-3</c:v>
                </c:pt>
                <c:pt idx="7">
                  <c:v>9.0371387962898037E-2</c:v>
                </c:pt>
                <c:pt idx="8">
                  <c:v>1.552706232054173E-2</c:v>
                </c:pt>
                <c:pt idx="10">
                  <c:v>5.18647696076496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2">
                  <c:v>1.5767466266459945E-2</c:v>
                </c:pt>
                <c:pt idx="6">
                  <c:v>4.8097971929081482E-2</c:v>
                </c:pt>
                <c:pt idx="8">
                  <c:v>8.750009569810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2">
                  <c:v>3.6388912211825822E-3</c:v>
                </c:pt>
                <c:pt idx="3">
                  <c:v>2.0037953554815927E-5</c:v>
                </c:pt>
                <c:pt idx="5">
                  <c:v>9.2532729010320891E-2</c:v>
                </c:pt>
                <c:pt idx="6">
                  <c:v>1.2341479732262271E-4</c:v>
                </c:pt>
                <c:pt idx="7">
                  <c:v>1.7603874330881404E-3</c:v>
                </c:pt>
                <c:pt idx="8">
                  <c:v>0.20675554714009825</c:v>
                </c:pt>
                <c:pt idx="9">
                  <c:v>3.081965426393633E-4</c:v>
                </c:pt>
                <c:pt idx="10">
                  <c:v>4.781697710865787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8">
                  <c:v>0.46250000000000002</c:v>
                </c:pt>
                <c:pt idx="10">
                  <c:v>0.5374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7204326300153358E-2</c:v>
                </c:pt>
                <c:pt idx="3">
                  <c:v>4.8559042899347739E-2</c:v>
                </c:pt>
                <c:pt idx="5">
                  <c:v>0.19112282846997233</c:v>
                </c:pt>
                <c:pt idx="6">
                  <c:v>5.5063914531849847E-2</c:v>
                </c:pt>
                <c:pt idx="7">
                  <c:v>0.52433907962076154</c:v>
                </c:pt>
                <c:pt idx="8">
                  <c:v>7.6815138517167758E-2</c:v>
                </c:pt>
                <c:pt idx="9">
                  <c:v>5.68610777085616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7">
                  <c:v>4.7848491834714662E-3</c:v>
                </c:pt>
                <c:pt idx="9">
                  <c:v>5.56124633252818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2">
                  <c:v>1.7737478640480985E-2</c:v>
                </c:pt>
                <c:pt idx="3">
                  <c:v>4.8556042232930072E-2</c:v>
                </c:pt>
                <c:pt idx="5">
                  <c:v>4.9426808655054784E-2</c:v>
                </c:pt>
                <c:pt idx="7">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2">
                  <c:v>1.8031779956883459E-2</c:v>
                </c:pt>
                <c:pt idx="5">
                  <c:v>3.9118744057247593E-2</c:v>
                </c:pt>
                <c:pt idx="7">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6">
                  <c:v>5.5054676525125794E-2</c:v>
                </c:pt>
                <c:pt idx="8">
                  <c:v>7.4612851658717824E-2</c:v>
                </c:pt>
                <c:pt idx="10">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2">
                  <c:v>1.1435067702788914E-2</c:v>
                </c:pt>
                <c:pt idx="3">
                  <c:v>3.0006664176675462E-6</c:v>
                </c:pt>
                <c:pt idx="5">
                  <c:v>0.10257727575766995</c:v>
                </c:pt>
                <c:pt idx="6">
                  <c:v>9.2380067240551424E-6</c:v>
                </c:pt>
                <c:pt idx="7">
                  <c:v>2.2022868584499339E-3</c:v>
                </c:pt>
                <c:pt idx="8">
                  <c:v>0.23490534987804146</c:v>
                </c:pt>
                <c:pt idx="9">
                  <c:v>3.2636461711260503E-5</c:v>
                </c:pt>
                <c:pt idx="10">
                  <c:v>5.129983137603346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4.1999999999999997E-3</c:v>
                </c:pt>
                <c:pt idx="10">
                  <c:v>0.9958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0810000882490144E-3</c:v>
                </c:pt>
                <c:pt idx="1">
                  <c:v>1.9057746725806689E-2</c:v>
                </c:pt>
                <c:pt idx="2">
                  <c:v>1.3061519103123722E-2</c:v>
                </c:pt>
                <c:pt idx="3">
                  <c:v>6.7854811076461852E-2</c:v>
                </c:pt>
                <c:pt idx="4">
                  <c:v>4.5626593872910418E-2</c:v>
                </c:pt>
                <c:pt idx="5">
                  <c:v>5.9953586010787034E-2</c:v>
                </c:pt>
                <c:pt idx="6">
                  <c:v>0.17594240996402155</c:v>
                </c:pt>
                <c:pt idx="7">
                  <c:v>0.15629945053556907</c:v>
                </c:pt>
                <c:pt idx="8">
                  <c:v>0.25184260675323467</c:v>
                </c:pt>
                <c:pt idx="9">
                  <c:v>0.12010973641082048</c:v>
                </c:pt>
                <c:pt idx="10">
                  <c:v>8.5453909757794072E-2</c:v>
                </c:pt>
                <c:pt idx="11">
                  <c:v>5.86396562284361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0326372359036796E-2</c:v>
                </c:pt>
                <c:pt idx="3">
                  <c:v>7.2599537803512179E-2</c:v>
                </c:pt>
                <c:pt idx="5">
                  <c:v>0.29716697751487675</c:v>
                </c:pt>
                <c:pt idx="7">
                  <c:v>9.1082501661220183E-4</c:v>
                </c:pt>
                <c:pt idx="8">
                  <c:v>0.55832536105652275</c:v>
                </c:pt>
                <c:pt idx="9">
                  <c:v>4.99855733585586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8">
                  <c:v>2.8713407016313334E-5</c:v>
                </c:pt>
                <c:pt idx="9">
                  <c:v>6.736072035449517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9.4798148634116057E-3</c:v>
                </c:pt>
                <c:pt idx="3">
                  <c:v>7.2599537803512179E-2</c:v>
                </c:pt>
                <c:pt idx="5">
                  <c:v>9.908005973942835E-2</c:v>
                </c:pt>
                <c:pt idx="8">
                  <c:v>0.15379720625932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5">
                  <c:v>3.7465906228928772E-2</c:v>
                </c:pt>
                <c:pt idx="8">
                  <c:v>0.105436135671197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2">
                  <c:v>1.0815940222649742E-2</c:v>
                </c:pt>
                <c:pt idx="5">
                  <c:v>5.1972548894969002E-2</c:v>
                </c:pt>
                <c:pt idx="8">
                  <c:v>7.98482548892637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0617272975446421E-5</c:v>
                </c:pt>
                <c:pt idx="5">
                  <c:v>6.7606668752889304E-5</c:v>
                </c:pt>
                <c:pt idx="6">
                  <c:v>0.10864846265155065</c:v>
                </c:pt>
                <c:pt idx="7">
                  <c:v>9.1082501661220183E-4</c:v>
                </c:pt>
                <c:pt idx="8">
                  <c:v>0.2192150508297242</c:v>
                </c:pt>
                <c:pt idx="9">
                  <c:v>4.3249501323109132E-2</c:v>
                </c:pt>
                <c:pt idx="10">
                  <c:v>4.998619502907591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132416561429879E-3</c:v>
                </c:pt>
                <c:pt idx="1">
                  <c:v>7.082202882835808E-3</c:v>
                </c:pt>
                <c:pt idx="2">
                  <c:v>2.0858669724864447E-3</c:v>
                </c:pt>
                <c:pt idx="3">
                  <c:v>5.5909517785081346E-2</c:v>
                </c:pt>
                <c:pt idx="4">
                  <c:v>3.9969470512073363E-2</c:v>
                </c:pt>
                <c:pt idx="5">
                  <c:v>4.1671457423834685E-2</c:v>
                </c:pt>
                <c:pt idx="6">
                  <c:v>8.5141350822573972E-2</c:v>
                </c:pt>
                <c:pt idx="7">
                  <c:v>0.18311481008226255</c:v>
                </c:pt>
                <c:pt idx="8">
                  <c:v>0.20000586803223158</c:v>
                </c:pt>
                <c:pt idx="9">
                  <c:v>0.20650588387134461</c:v>
                </c:pt>
                <c:pt idx="10">
                  <c:v>0.175500329959132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9487915336276094E-3</c:v>
                </c:pt>
                <c:pt idx="1">
                  <c:v>7.0813147290244606E-3</c:v>
                </c:pt>
                <c:pt idx="3">
                  <c:v>5.5626198939646043E-2</c:v>
                </c:pt>
                <c:pt idx="4">
                  <c:v>3.9572980887611639E-3</c:v>
                </c:pt>
                <c:pt idx="5">
                  <c:v>3.9297446710332792E-2</c:v>
                </c:pt>
                <c:pt idx="6">
                  <c:v>5.4505222267807454E-3</c:v>
                </c:pt>
                <c:pt idx="7">
                  <c:v>2.4879133312688644E-2</c:v>
                </c:pt>
                <c:pt idx="8">
                  <c:v>0.19521391185656495</c:v>
                </c:pt>
                <c:pt idx="9">
                  <c:v>0.20165431703224487</c:v>
                </c:pt>
                <c:pt idx="10">
                  <c:v>3.00105285527450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sa Azzur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4">
                  <c:v>8.0315571529386721E-3</c:v>
                </c:pt>
                <c:pt idx="6">
                  <c:v>1.1385012787671881E-2</c:v>
                </c:pt>
                <c:pt idx="7">
                  <c:v>2.4798644373535281E-2</c:v>
                </c:pt>
                <c:pt idx="10">
                  <c:v>4.46982412052161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2">
                  <c:v>1.3211287943793168E-6</c:v>
                </c:pt>
                <c:pt idx="6">
                  <c:v>2.5835857039041159E-2</c:v>
                </c:pt>
                <c:pt idx="7">
                  <c:v>4.4351648061875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1.0644501225153785E-3</c:v>
                </c:pt>
                <c:pt idx="1">
                  <c:v>2.862075657067125E-6</c:v>
                </c:pt>
                <c:pt idx="3">
                  <c:v>2.83318845435305E-4</c:v>
                </c:pt>
                <c:pt idx="4">
                  <c:v>2.7980615270373529E-2</c:v>
                </c:pt>
                <c:pt idx="5">
                  <c:v>2.3740107135018949E-3</c:v>
                </c:pt>
                <c:pt idx="6">
                  <c:v>4.2469958769080191E-2</c:v>
                </c:pt>
                <c:pt idx="7">
                  <c:v>2.8810532836310913E-2</c:v>
                </c:pt>
                <c:pt idx="8">
                  <c:v>6.506680767351837E-2</c:v>
                </c:pt>
                <c:pt idx="9">
                  <c:v>4.8515668390997305E-3</c:v>
                </c:pt>
                <c:pt idx="10">
                  <c:v>0.1007915602011713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4975365598015995E-3</c:v>
                </c:pt>
                <c:pt idx="1">
                  <c:v>1.6379025521232942E-3</c:v>
                </c:pt>
                <c:pt idx="2">
                  <c:v>1.0219016343389E-3</c:v>
                </c:pt>
                <c:pt idx="3">
                  <c:v>5.4936688578910986E-2</c:v>
                </c:pt>
                <c:pt idx="4">
                  <c:v>3.1573981954397423E-2</c:v>
                </c:pt>
                <c:pt idx="5">
                  <c:v>3.3815989888744687E-2</c:v>
                </c:pt>
                <c:pt idx="6">
                  <c:v>9.5925986929385865E-2</c:v>
                </c:pt>
                <c:pt idx="7">
                  <c:v>0.2663326767582046</c:v>
                </c:pt>
                <c:pt idx="8">
                  <c:v>0.1653838562857024</c:v>
                </c:pt>
                <c:pt idx="9">
                  <c:v>0.18836265015202369</c:v>
                </c:pt>
                <c:pt idx="10">
                  <c:v>0.158510828706366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1.6379025521232942E-3</c:v>
                </c:pt>
                <c:pt idx="3">
                  <c:v>5.4935686849600637E-2</c:v>
                </c:pt>
                <c:pt idx="5">
                  <c:v>3.0131992612146163E-2</c:v>
                </c:pt>
                <c:pt idx="7">
                  <c:v>0.25750047951529925</c:v>
                </c:pt>
                <c:pt idx="9">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2">
                  <c:v>6.7867160776327196E-6</c:v>
                </c:pt>
                <c:pt idx="6">
                  <c:v>2.6903631912361108E-2</c:v>
                </c:pt>
                <c:pt idx="8">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4">
                  <c:v>5.5441960843052385E-3</c:v>
                </c:pt>
                <c:pt idx="6">
                  <c:v>1.2007729243185742E-2</c:v>
                </c:pt>
                <c:pt idx="8">
                  <c:v>3.2367602000523556E-2</c:v>
                </c:pt>
                <c:pt idx="10">
                  <c:v>4.40444725741165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2">
                  <c:v>1.0151149182612673E-3</c:v>
                </c:pt>
                <c:pt idx="3">
                  <c:v>2.0159727241129542E-2</c:v>
                </c:pt>
                <c:pt idx="5">
                  <c:v>1.8604292054480952E-2</c:v>
                </c:pt>
                <c:pt idx="7">
                  <c:v>8.832197242905359E-3</c:v>
                </c:pt>
                <c:pt idx="8">
                  <c:v>8.5016879264095596E-2</c:v>
                </c:pt>
                <c:pt idx="9">
                  <c:v>8.835239995685553E-3</c:v>
                </c:pt>
                <c:pt idx="10">
                  <c:v>0.1144663561322500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5.0815776284355207E-4</c:v>
                </c:pt>
                <c:pt idx="3">
                  <c:v>1.017348439062198E-3</c:v>
                </c:pt>
                <c:pt idx="4">
                  <c:v>8.2295467613508672E-2</c:v>
                </c:pt>
                <c:pt idx="6">
                  <c:v>0.1301013877493945</c:v>
                </c:pt>
                <c:pt idx="7">
                  <c:v>0.37290792522911043</c:v>
                </c:pt>
                <c:pt idx="8">
                  <c:v>1.3576844917299524E-2</c:v>
                </c:pt>
                <c:pt idx="9">
                  <c:v>0.39240664061433561</c:v>
                </c:pt>
                <c:pt idx="10">
                  <c:v>6.266275843114206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3">
                  <c:v>8.123258798760101E-3</c:v>
                </c:pt>
                <c:pt idx="6">
                  <c:v>1.9586700359540744E-3</c:v>
                </c:pt>
                <c:pt idx="8">
                  <c:v>8.8809632822244248E-3</c:v>
                </c:pt>
                <c:pt idx="9">
                  <c:v>6.05121704502577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0">
                  <c:v>3.4958174110288519E-6</c:v>
                </c:pt>
                <c:pt idx="2">
                  <c:v>9.2451416695232998E-3</c:v>
                </c:pt>
                <c:pt idx="4">
                  <c:v>4.0919173330030652E-2</c:v>
                </c:pt>
                <c:pt idx="5">
                  <c:v>5.5159640769974413E-2</c:v>
                </c:pt>
                <c:pt idx="7">
                  <c:v>0.15016308138349577</c:v>
                </c:pt>
                <c:pt idx="10">
                  <c:v>8.0742727458019248E-2</c:v>
                </c:pt>
                <c:pt idx="11">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0">
                  <c:v>3.9805135674046311E-6</c:v>
                </c:pt>
                <c:pt idx="1">
                  <c:v>4.3536867143488152E-6</c:v>
                </c:pt>
                <c:pt idx="3">
                  <c:v>5.3234779363264184E-3</c:v>
                </c:pt>
                <c:pt idx="6">
                  <c:v>7.3885580806643007E-3</c:v>
                </c:pt>
                <c:pt idx="8">
                  <c:v>2.316147177190065E-2</c:v>
                </c:pt>
                <c:pt idx="9">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1">
                  <c:v>2.2566037556505814E-3</c:v>
                </c:pt>
                <c:pt idx="3">
                  <c:v>6.1774139088906594E-3</c:v>
                </c:pt>
                <c:pt idx="6">
                  <c:v>6.2881948613748833E-3</c:v>
                </c:pt>
                <c:pt idx="8">
                  <c:v>2.3073758924982701E-2</c:v>
                </c:pt>
                <c:pt idx="9">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0">
                  <c:v>4.0735237572705821E-3</c:v>
                </c:pt>
                <c:pt idx="1">
                  <c:v>4.990946347627017E-3</c:v>
                </c:pt>
                <c:pt idx="2">
                  <c:v>1.5622220369415166E-2</c:v>
                </c:pt>
                <c:pt idx="3">
                  <c:v>8.2978609380648122E-3</c:v>
                </c:pt>
                <c:pt idx="4">
                  <c:v>4.4640220037299644E-2</c:v>
                </c:pt>
                <c:pt idx="5">
                  <c:v>4.7939452408126207E-3</c:v>
                </c:pt>
                <c:pt idx="6">
                  <c:v>0.1603069869860283</c:v>
                </c:pt>
                <c:pt idx="7">
                  <c:v>6.1363691520733166E-3</c:v>
                </c:pt>
                <c:pt idx="8">
                  <c:v>0.19672641277412689</c:v>
                </c:pt>
                <c:pt idx="9">
                  <c:v>3.4553675865733602E-2</c:v>
                </c:pt>
                <c:pt idx="10">
                  <c:v>8.1733922519114682E-2</c:v>
                </c:pt>
                <c:pt idx="12">
                  <c:v>5.495896798254180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4">
                  <c:v>3.1739914264271918E-2</c:v>
                </c:pt>
                <c:pt idx="6">
                  <c:v>4.3716402377673984E-2</c:v>
                </c:pt>
                <c:pt idx="7">
                  <c:v>0.19798381364191134</c:v>
                </c:pt>
                <c:pt idx="9">
                  <c:v>0.24070235046383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4">
                  <c:v>4.0702129634083491E-2</c:v>
                </c:pt>
                <c:pt idx="6">
                  <c:v>3.0382577045142214E-2</c:v>
                </c:pt>
                <c:pt idx="7">
                  <c:v>7.0619147688679121E-2</c:v>
                </c:pt>
                <c:pt idx="9">
                  <c:v>6.1253348130826599E-2</c:v>
                </c:pt>
                <c:pt idx="10">
                  <c:v>3.6668424815829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6">
                  <c:v>3.9618211708881627E-2</c:v>
                </c:pt>
                <c:pt idx="7">
                  <c:v>5.42016663279126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2">
                  <c:v>5.0815776284355207E-4</c:v>
                </c:pt>
                <c:pt idx="3">
                  <c:v>9.8534237151532648E-3</c:v>
                </c:pt>
                <c:pt idx="4">
                  <c:v>1.017348439062198E-3</c:v>
                </c:pt>
                <c:pt idx="5">
                  <c:v>4.5857792083905052E-4</c:v>
                </c:pt>
                <c:pt idx="6">
                  <c:v>1.6384196617696661E-2</c:v>
                </c:pt>
                <c:pt idx="7">
                  <c:v>1.3576844917299524E-2</c:v>
                </c:pt>
                <c:pt idx="8">
                  <c:v>5.010329757060733E-2</c:v>
                </c:pt>
                <c:pt idx="9">
                  <c:v>9.0450942019669425E-2</c:v>
                </c:pt>
                <c:pt idx="10">
                  <c:v>2.59943336153127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797037320037875E-2</c:v>
                </c:pt>
                <c:pt idx="1">
                  <c:v>4.5156781419718517E-2</c:v>
                </c:pt>
                <c:pt idx="2">
                  <c:v>2.1124239287706442E-2</c:v>
                </c:pt>
                <c:pt idx="3">
                  <c:v>7.4020895482192761E-2</c:v>
                </c:pt>
                <c:pt idx="4">
                  <c:v>0.13820454776849406</c:v>
                </c:pt>
                <c:pt idx="5">
                  <c:v>0.34672443505720385</c:v>
                </c:pt>
                <c:pt idx="6">
                  <c:v>0.14139907863558362</c:v>
                </c:pt>
                <c:pt idx="7">
                  <c:v>0.13967776059534132</c:v>
                </c:pt>
                <c:pt idx="8">
                  <c:v>6.7398654515112802E-2</c:v>
                </c:pt>
                <c:pt idx="9">
                  <c:v>8.2218136030333313E-3</c:v>
                </c:pt>
                <c:pt idx="10">
                  <c:v>1.27475631557531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0">
                  <c:v>2.0238617619303347E-6</c:v>
                </c:pt>
                <c:pt idx="1">
                  <c:v>4.5156781419718517E-2</c:v>
                </c:pt>
                <c:pt idx="2">
                  <c:v>7.7398376706354953E-3</c:v>
                </c:pt>
                <c:pt idx="3">
                  <c:v>7.3947989235322156E-2</c:v>
                </c:pt>
                <c:pt idx="4">
                  <c:v>9.8064467660807352E-3</c:v>
                </c:pt>
                <c:pt idx="5">
                  <c:v>1.2902908038393035E-2</c:v>
                </c:pt>
                <c:pt idx="6">
                  <c:v>0.13706300878029487</c:v>
                </c:pt>
                <c:pt idx="7">
                  <c:v>8.0534417968524744E-3</c:v>
                </c:pt>
                <c:pt idx="8">
                  <c:v>6.7098036835201547E-2</c:v>
                </c:pt>
                <c:pt idx="9">
                  <c:v>5.3849564520267726E-4</c:v>
                </c:pt>
                <c:pt idx="10">
                  <c:v>1.267709903540859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5">
                  <c:v>8.8618861954467054E-2</c:v>
                </c:pt>
                <c:pt idx="7">
                  <c:v>6.7762173818584862E-2</c:v>
                </c:pt>
                <c:pt idx="9">
                  <c:v>2.3950582476859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3.854849497948708E-4</c:v>
                </c:pt>
                <c:pt idx="4">
                  <c:v>7.5135480004825964E-2</c:v>
                </c:pt>
                <c:pt idx="5">
                  <c:v>3.5992839927888994E-2</c:v>
                </c:pt>
                <c:pt idx="7">
                  <c:v>1.75277424898740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6795013458275946E-2</c:v>
                </c:pt>
                <c:pt idx="1">
                  <c:v>1.2998916667276076E-2</c:v>
                </c:pt>
                <c:pt idx="3">
                  <c:v>7.2906246870603749E-5</c:v>
                </c:pt>
                <c:pt idx="4">
                  <c:v>5.326262099758737E-2</c:v>
                </c:pt>
                <c:pt idx="5">
                  <c:v>4.336069855288757E-3</c:v>
                </c:pt>
                <c:pt idx="6">
                  <c:v>0.20920982513645484</c:v>
                </c:pt>
                <c:pt idx="7">
                  <c:v>3.0061767991125879E-4</c:v>
                </c:pt>
                <c:pt idx="8">
                  <c:v>4.6334402490029986E-2</c:v>
                </c:pt>
                <c:pt idx="9">
                  <c:v>7.0464120344541149E-6</c:v>
                </c:pt>
                <c:pt idx="10">
                  <c:v>5.288259710144677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30936481089647E-2</c:v>
                </c:pt>
                <c:pt idx="1">
                  <c:v>3.2843822305474016E-2</c:v>
                </c:pt>
                <c:pt idx="2">
                  <c:v>1.304152019254488E-2</c:v>
                </c:pt>
                <c:pt idx="3">
                  <c:v>6.3976002158169454E-2</c:v>
                </c:pt>
                <c:pt idx="4">
                  <c:v>0.12726869045828998</c:v>
                </c:pt>
                <c:pt idx="5">
                  <c:v>0.14107703973711477</c:v>
                </c:pt>
                <c:pt idx="6">
                  <c:v>0.36236006541336901</c:v>
                </c:pt>
                <c:pt idx="7">
                  <c:v>0.1607814740415261</c:v>
                </c:pt>
                <c:pt idx="8">
                  <c:v>7.1788863020120317E-2</c:v>
                </c:pt>
                <c:pt idx="9">
                  <c:v>1.17228640821703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1">
                  <c:v>3.2843822305474016E-2</c:v>
                </c:pt>
                <c:pt idx="3">
                  <c:v>6.3974896538575313E-2</c:v>
                </c:pt>
                <c:pt idx="5">
                  <c:v>0.14093418959066523</c:v>
                </c:pt>
                <c:pt idx="8">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6">
                  <c:v>8.3921297738606626E-2</c:v>
                </c:pt>
                <c:pt idx="7">
                  <c:v>8.2993007242709221E-2</c:v>
                </c:pt>
                <c:pt idx="9">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2">
                  <c:v>8.3154878141065264E-4</c:v>
                </c:pt>
                <c:pt idx="4">
                  <c:v>7.4036116742946231E-2</c:v>
                </c:pt>
                <c:pt idx="6">
                  <c:v>4.9380779319311785E-2</c:v>
                </c:pt>
                <c:pt idx="7">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5130936481089645E-2</c:v>
                </c:pt>
                <c:pt idx="1">
                  <c:v>1.2209971411134227E-2</c:v>
                </c:pt>
                <c:pt idx="3">
                  <c:v>1.1056195941344178E-6</c:v>
                </c:pt>
                <c:pt idx="4">
                  <c:v>5.3232573715343741E-2</c:v>
                </c:pt>
                <c:pt idx="5">
                  <c:v>1.4285014644955247E-4</c:v>
                </c:pt>
                <c:pt idx="6">
                  <c:v>0.22905798835545063</c:v>
                </c:pt>
                <c:pt idx="7">
                  <c:v>7.5001957356170355E-4</c:v>
                </c:pt>
                <c:pt idx="8">
                  <c:v>6.3161242415040092E-2</c:v>
                </c:pt>
                <c:pt idx="9">
                  <c:v>8.7221101315048514E-6</c:v>
                </c:pt>
                <c:pt idx="10">
                  <c:v>8.11924033614766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62381599003958E-2</c:v>
                </c:pt>
                <c:pt idx="1">
                  <c:v>6.7529882543703984E-2</c:v>
                </c:pt>
                <c:pt idx="4">
                  <c:v>0.22654494927316576</c:v>
                </c:pt>
                <c:pt idx="5">
                  <c:v>9.6450797587259059E-3</c:v>
                </c:pt>
                <c:pt idx="6">
                  <c:v>0.46446442441784896</c:v>
                </c:pt>
                <c:pt idx="7">
                  <c:v>0.18869362275035395</c:v>
                </c:pt>
                <c:pt idx="9">
                  <c:v>1.38353036387650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0.10713691627244884</c:v>
                </c:pt>
                <c:pt idx="7">
                  <c:v>6.8946896404207661E-2</c:v>
                </c:pt>
                <c:pt idx="9">
                  <c:v>3.25160080534018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5.5333232533177838E-2</c:v>
                </c:pt>
                <c:pt idx="4">
                  <c:v>7.0107424510208904E-2</c:v>
                </c:pt>
                <c:pt idx="6">
                  <c:v>9.2244802582413174E-2</c:v>
                </c:pt>
                <c:pt idx="7">
                  <c:v>5.7574974938621626E-2</c:v>
                </c:pt>
                <c:pt idx="9">
                  <c:v>3.849721919379649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1897722085289953E-2</c:v>
                </c:pt>
                <c:pt idx="4">
                  <c:v>4.9725030197845625E-2</c:v>
                </c:pt>
                <c:pt idx="6">
                  <c:v>8.697601703860236E-2</c:v>
                </c:pt>
                <c:pt idx="7">
                  <c:v>2.3761273400165282E-2</c:v>
                </c:pt>
                <c:pt idx="9">
                  <c:v>6.68690868832230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9262381599003958E-2</c:v>
                </c:pt>
                <c:pt idx="1">
                  <c:v>2.9892792523618708E-4</c:v>
                </c:pt>
                <c:pt idx="4">
                  <c:v>0.10671249456511124</c:v>
                </c:pt>
                <c:pt idx="5">
                  <c:v>9.6450797587259059E-3</c:v>
                </c:pt>
                <c:pt idx="6">
                  <c:v>0.1781066885243846</c:v>
                </c:pt>
                <c:pt idx="7">
                  <c:v>3.8410478007359375E-2</c:v>
                </c:pt>
                <c:pt idx="8">
                  <c:v>2.435601843244183E-5</c:v>
                </c:pt>
                <c:pt idx="10">
                  <c:v>4.707222572289747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4410000000000001</c:v>
                </c:pt>
                <c:pt idx="5">
                  <c:v>0.16689999999999999</c:v>
                </c:pt>
                <c:pt idx="8">
                  <c:v>0.37459999999999999</c:v>
                </c:pt>
                <c:pt idx="9">
                  <c:v>0.21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9285822814956487E-3</c:v>
                </c:pt>
                <c:pt idx="3">
                  <c:v>2.2585485283414204E-2</c:v>
                </c:pt>
                <c:pt idx="4">
                  <c:v>4.9044700492439267E-2</c:v>
                </c:pt>
                <c:pt idx="5">
                  <c:v>8.0784550457186646E-2</c:v>
                </c:pt>
                <c:pt idx="6">
                  <c:v>0.1013458714656256</c:v>
                </c:pt>
                <c:pt idx="7">
                  <c:v>0.36238716688551564</c:v>
                </c:pt>
                <c:pt idx="8">
                  <c:v>0.2209832421338763</c:v>
                </c:pt>
                <c:pt idx="9">
                  <c:v>8.8186583552568476E-2</c:v>
                </c:pt>
                <c:pt idx="10">
                  <c:v>6.8646178053328483E-2</c:v>
                </c:pt>
                <c:pt idx="11">
                  <c:v>3.77164383198322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1">
                  <c:v>8.7599463244546197E-5</c:v>
                </c:pt>
                <c:pt idx="3">
                  <c:v>1.6371102859530855E-2</c:v>
                </c:pt>
                <c:pt idx="4">
                  <c:v>6.7887822797473305E-3</c:v>
                </c:pt>
                <c:pt idx="5">
                  <c:v>7.8921068711268666E-2</c:v>
                </c:pt>
                <c:pt idx="6">
                  <c:v>1.1872066463548894E-2</c:v>
                </c:pt>
                <c:pt idx="7">
                  <c:v>2.3617717232306247E-2</c:v>
                </c:pt>
                <c:pt idx="8">
                  <c:v>0.21762327162468681</c:v>
                </c:pt>
                <c:pt idx="9">
                  <c:v>7.5866185645711934E-3</c:v>
                </c:pt>
                <c:pt idx="10">
                  <c:v>6.7446858698726922E-2</c:v>
                </c:pt>
                <c:pt idx="11">
                  <c:v>3.6279483654025491E-3</c:v>
                </c:pt>
                <c:pt idx="12">
                  <c:v>7.5638070828926284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2">
                  <c:v>3.4497032775931784E-4</c:v>
                </c:pt>
                <c:pt idx="4">
                  <c:v>3.5505788445723573E-2</c:v>
                </c:pt>
                <c:pt idx="6">
                  <c:v>4.8514440208670587E-2</c:v>
                </c:pt>
                <c:pt idx="7">
                  <c:v>0.14895993286776413</c:v>
                </c:pt>
                <c:pt idx="9">
                  <c:v>8.14046427328547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4">
                  <c:v>2.3927200276801803E-3</c:v>
                </c:pt>
                <c:pt idx="6">
                  <c:v>2.4115749724647358E-2</c:v>
                </c:pt>
                <c:pt idx="7">
                  <c:v>5.2993314390311158E-2</c:v>
                </c:pt>
                <c:pt idx="9">
                  <c:v>6.364195018978527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4">
                  <c:v>4.3574097392881806E-3</c:v>
                </c:pt>
                <c:pt idx="6">
                  <c:v>1.6843615068758758E-2</c:v>
                </c:pt>
                <c:pt idx="7">
                  <c:v>0.13681620239513415</c:v>
                </c:pt>
                <c:pt idx="8">
                  <c:v>3.35997050918948E-3</c:v>
                </c:pt>
                <c:pt idx="9">
                  <c:v>7.18230812128139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2.1026893100549375E-3</c:v>
                </c:pt>
                <c:pt idx="3">
                  <c:v>4.916947487787493E-2</c:v>
                </c:pt>
                <c:pt idx="4">
                  <c:v>4.3007935502443258E-2</c:v>
                </c:pt>
                <c:pt idx="5">
                  <c:v>8.8371883951689795E-2</c:v>
                </c:pt>
                <c:pt idx="6">
                  <c:v>5.5873027350611768E-2</c:v>
                </c:pt>
                <c:pt idx="7">
                  <c:v>0.36146768532776002</c:v>
                </c:pt>
                <c:pt idx="8">
                  <c:v>0.20540382508378988</c:v>
                </c:pt>
                <c:pt idx="9">
                  <c:v>0.10628330882040933</c:v>
                </c:pt>
                <c:pt idx="10">
                  <c:v>8.74389359460932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4">
                  <c:v>4.3007935502443258E-2</c:v>
                </c:pt>
                <c:pt idx="6">
                  <c:v>5.2165348389913241E-2</c:v>
                </c:pt>
                <c:pt idx="8">
                  <c:v>0.20214649925508837</c:v>
                </c:pt>
                <c:pt idx="9">
                  <c:v>0.103724412515582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2">
                  <c:v>3.0785858632611054E-5</c:v>
                </c:pt>
                <c:pt idx="3">
                  <c:v>3.7643461722091778E-2</c:v>
                </c:pt>
                <c:pt idx="5">
                  <c:v>5.2246089232947733E-2</c:v>
                </c:pt>
                <c:pt idx="7">
                  <c:v>0.16377976700594907</c:v>
                </c:pt>
                <c:pt idx="10">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6.761514813472729E-3</c:v>
                </c:pt>
                <c:pt idx="5">
                  <c:v>2.2774164980597478E-2</c:v>
                </c:pt>
                <c:pt idx="7">
                  <c:v>2.97416569034042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6">
                  <c:v>4.5059274606916904E-3</c:v>
                </c:pt>
                <c:pt idx="7">
                  <c:v>9.5431915435765638E-2</c:v>
                </c:pt>
                <c:pt idx="8">
                  <c:v>7.5771671811342561E-2</c:v>
                </c:pt>
                <c:pt idx="9">
                  <c:v>1.60806520341733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5553742015450741E-3</c:v>
                </c:pt>
                <c:pt idx="3">
                  <c:v>0.10056376439324646</c:v>
                </c:pt>
                <c:pt idx="5">
                  <c:v>0.20390060448269487</c:v>
                </c:pt>
                <c:pt idx="7">
                  <c:v>1.1403440221557173E-2</c:v>
                </c:pt>
                <c:pt idx="8">
                  <c:v>0.5480297958742949</c:v>
                </c:pt>
                <c:pt idx="9">
                  <c:v>0.10372738096186646</c:v>
                </c:pt>
                <c:pt idx="12">
                  <c:v>2.87023598520529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4.5815978632429484E-2</c:v>
                </c:pt>
                <c:pt idx="5">
                  <c:v>7.6385241605657572E-2</c:v>
                </c:pt>
                <c:pt idx="8">
                  <c:v>0.19863748728436206</c:v>
                </c:pt>
                <c:pt idx="9">
                  <c:v>3.43597467050027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3709339543574292E-2</c:v>
                </c:pt>
                <c:pt idx="5">
                  <c:v>9.3925668571629539E-2</c:v>
                </c:pt>
                <c:pt idx="8">
                  <c:v>0.18685064975207327</c:v>
                </c:pt>
                <c:pt idx="9">
                  <c:v>6.00227565615086E-2</c:v>
                </c:pt>
                <c:pt idx="12">
                  <c:v>2.87023598520529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2.6727910802191755E-2</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5553742015450741E-3</c:v>
                </c:pt>
                <c:pt idx="3">
                  <c:v>1.0384462172426975E-3</c:v>
                </c:pt>
                <c:pt idx="5">
                  <c:v>6.8617835032159964E-3</c:v>
                </c:pt>
                <c:pt idx="7">
                  <c:v>1.1403440221557173E-2</c:v>
                </c:pt>
                <c:pt idx="8">
                  <c:v>9.3091049364484021E-2</c:v>
                </c:pt>
                <c:pt idx="9">
                  <c:v>1.1728001274223003E-4</c:v>
                </c:pt>
                <c:pt idx="10">
                  <c:v>4.02686497298575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6425597825452717E-2</c:v>
                </c:pt>
                <c:pt idx="1">
                  <c:v>7.2109019127578972E-2</c:v>
                </c:pt>
                <c:pt idx="3">
                  <c:v>5.0303297755392837E-4</c:v>
                </c:pt>
                <c:pt idx="4">
                  <c:v>0.12402220207660479</c:v>
                </c:pt>
                <c:pt idx="5">
                  <c:v>2.9994597498183262E-3</c:v>
                </c:pt>
                <c:pt idx="6">
                  <c:v>0.22171959768659777</c:v>
                </c:pt>
                <c:pt idx="7">
                  <c:v>0.38358536672772303</c:v>
                </c:pt>
                <c:pt idx="8">
                  <c:v>5.5040210686961785E-3</c:v>
                </c:pt>
                <c:pt idx="9">
                  <c:v>1.6054128463587373E-3</c:v>
                </c:pt>
                <c:pt idx="10">
                  <c:v>0.16762790765090618</c:v>
                </c:pt>
                <c:pt idx="11">
                  <c:v>3.82920830483750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5.3856141960207543E-4</c:v>
                </c:pt>
                <c:pt idx="1">
                  <c:v>1.5620317363869789E-3</c:v>
                </c:pt>
                <c:pt idx="4">
                  <c:v>5.5489759458103149E-3</c:v>
                </c:pt>
                <c:pt idx="6">
                  <c:v>3.3668270305480336E-2</c:v>
                </c:pt>
                <c:pt idx="7">
                  <c:v>0.29686173713080344</c:v>
                </c:pt>
                <c:pt idx="8">
                  <c:v>0.59156903232339997</c:v>
                </c:pt>
                <c:pt idx="9">
                  <c:v>6.0845125112677659E-2</c:v>
                </c:pt>
                <c:pt idx="10">
                  <c:v>9.39993664733703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0">
                  <c:v>1.9993966973793626E-5</c:v>
                </c:pt>
                <c:pt idx="7">
                  <c:v>0.28963363594631669</c:v>
                </c:pt>
                <c:pt idx="8">
                  <c:v>3.462449710879878E-2</c:v>
                </c:pt>
                <c:pt idx="9">
                  <c:v>3.0561085175378738E-3</c:v>
                </c:pt>
                <c:pt idx="10">
                  <c:v>9.072845160635700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8">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6">
                  <c:v>9.3137540633138035E-4</c:v>
                </c:pt>
                <c:pt idx="8">
                  <c:v>0.16433112599937943</c:v>
                </c:pt>
                <c:pt idx="9">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0">
                  <c:v>5.185674526282818E-4</c:v>
                </c:pt>
                <c:pt idx="1">
                  <c:v>1.5620317363869789E-3</c:v>
                </c:pt>
                <c:pt idx="3">
                  <c:v>5.8141965310295576E-6</c:v>
                </c:pt>
                <c:pt idx="4">
                  <c:v>5.5489759458103149E-3</c:v>
                </c:pt>
                <c:pt idx="5">
                  <c:v>5.1518197110388487E-7</c:v>
                </c:pt>
                <c:pt idx="6">
                  <c:v>3.2736894899148959E-2</c:v>
                </c:pt>
                <c:pt idx="7">
                  <c:v>7.2281011844867625E-3</c:v>
                </c:pt>
                <c:pt idx="8">
                  <c:v>0.20961527780476349</c:v>
                </c:pt>
                <c:pt idx="9">
                  <c:v>3.2709148670133793E-4</c:v>
                </c:pt>
                <c:pt idx="10">
                  <c:v>4.07256990626828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450492937243368E-3</c:v>
                </c:pt>
                <c:pt idx="1">
                  <c:v>2.2320532191512647E-3</c:v>
                </c:pt>
                <c:pt idx="4">
                  <c:v>5.5221708815645486E-3</c:v>
                </c:pt>
                <c:pt idx="6">
                  <c:v>3.2054568203037939E-2</c:v>
                </c:pt>
                <c:pt idx="7">
                  <c:v>0.60939570637605789</c:v>
                </c:pt>
                <c:pt idx="8">
                  <c:v>0.23745240670836387</c:v>
                </c:pt>
                <c:pt idx="9">
                  <c:v>9.4823594225305452E-2</c:v>
                </c:pt>
                <c:pt idx="10">
                  <c:v>1.72744510927946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C$2:$C$14</c:f>
              <c:numCache>
                <c:formatCode>General</c:formatCode>
                <c:ptCount val="13"/>
                <c:pt idx="0">
                  <c:v>1.2784618550905057E-4</c:v>
                </c:pt>
                <c:pt idx="8">
                  <c:v>0.20313096092644092</c:v>
                </c:pt>
                <c:pt idx="10">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D$2:$D$14</c:f>
              <c:numCache>
                <c:formatCode>General</c:formatCode>
                <c:ptCount val="13"/>
                <c:pt idx="7">
                  <c:v>0.17623447649261598</c:v>
                </c:pt>
                <c:pt idx="9">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E$2:$E$14</c:f>
              <c:numCache>
                <c:formatCode>General</c:formatCode>
                <c:ptCount val="13"/>
                <c:pt idx="7">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50 GR</c:v>
                </c:pt>
                <c:pt idx="12">
                  <c:v>0-49 GR</c:v>
                </c:pt>
              </c:strCache>
            </c:strRef>
          </c:cat>
          <c:val>
            <c:numRef>
              <c:f>Sheet1!$F$2:$F$14</c:f>
              <c:numCache>
                <c:formatCode>General</c:formatCode>
                <c:ptCount val="13"/>
                <c:pt idx="0">
                  <c:v>1.1172031082152861E-3</c:v>
                </c:pt>
                <c:pt idx="1">
                  <c:v>2.2320532191512647E-3</c:v>
                </c:pt>
                <c:pt idx="4">
                  <c:v>5.5221708815645486E-3</c:v>
                </c:pt>
                <c:pt idx="6">
                  <c:v>3.2054568203037939E-2</c:v>
                </c:pt>
                <c:pt idx="7">
                  <c:v>3.4321445781922956E-2</c:v>
                </c:pt>
                <c:pt idx="8">
                  <c:v>0.26687961814932687</c:v>
                </c:pt>
                <c:pt idx="9">
                  <c:v>7.2111523286516003E-4</c:v>
                </c:pt>
                <c:pt idx="10">
                  <c:v>7.419078854899756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7239854391077266E-2</c:v>
                </c:pt>
                <c:pt idx="7">
                  <c:v>0.86683859195054513</c:v>
                </c:pt>
                <c:pt idx="10">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7">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7">
                  <c:v>0.26279747884294907</c:v>
                </c:pt>
                <c:pt idx="10">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7">
                  <c:v>0.15900475742707917</c:v>
                </c:pt>
                <c:pt idx="10">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5">
                  <c:v>4.7239854391077266E-2</c:v>
                </c:pt>
                <c:pt idx="7">
                  <c:v>0.17733099961828863</c:v>
                </c:pt>
                <c:pt idx="10">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222901626161E-3</c:v>
                </c:pt>
                <c:pt idx="1">
                  <c:v>0.10369318788070768</c:v>
                </c:pt>
                <c:pt idx="4">
                  <c:v>1.3292401962814945E-2</c:v>
                </c:pt>
                <c:pt idx="6">
                  <c:v>0.39927586436066009</c:v>
                </c:pt>
                <c:pt idx="7">
                  <c:v>9.5854667596162132E-4</c:v>
                </c:pt>
                <c:pt idx="8">
                  <c:v>0.46448408106322292</c:v>
                </c:pt>
                <c:pt idx="10">
                  <c:v>1.67815965063652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4">
                  <c:v>3.1935728484265434E-3</c:v>
                </c:pt>
                <c:pt idx="6">
                  <c:v>2.1825716043672319E-3</c:v>
                </c:pt>
                <c:pt idx="7">
                  <c:v>4.9004663682722807E-3</c:v>
                </c:pt>
                <c:pt idx="10">
                  <c:v>2.804305032436435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0692638319360785E-2</c:v>
                </c:pt>
                <c:pt idx="1">
                  <c:v>4.6089641188097379E-2</c:v>
                </c:pt>
                <c:pt idx="4">
                  <c:v>5.6457768414170002E-2</c:v>
                </c:pt>
                <c:pt idx="6">
                  <c:v>6.7895764878645834E-2</c:v>
                </c:pt>
                <c:pt idx="7">
                  <c:v>0.17840524776356115</c:v>
                </c:pt>
                <c:pt idx="10">
                  <c:v>7.9205394229489856E-2</c:v>
                </c:pt>
                <c:pt idx="11">
                  <c:v>3.806791456361746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7.3264929383413903E-4</c:v>
                </c:pt>
                <c:pt idx="1">
                  <c:v>1.6384773534098278E-3</c:v>
                </c:pt>
                <c:pt idx="4">
                  <c:v>1.7649141655840698E-2</c:v>
                </c:pt>
                <c:pt idx="6">
                  <c:v>2.0193127418620536E-2</c:v>
                </c:pt>
                <c:pt idx="7">
                  <c:v>2.6744300516275039E-2</c:v>
                </c:pt>
                <c:pt idx="10">
                  <c:v>4.263863694428621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4">
                  <c:v>3.216551840367459E-3</c:v>
                </c:pt>
                <c:pt idx="6">
                  <c:v>5.3626943437083199E-3</c:v>
                </c:pt>
                <c:pt idx="7">
                  <c:v>1.468612754068007E-2</c:v>
                </c:pt>
                <c:pt idx="10">
                  <c:v>1.872734108882807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5.0003102122577947E-3</c:v>
                </c:pt>
                <c:pt idx="1">
                  <c:v>1.0168183266816009E-5</c:v>
                </c:pt>
                <c:pt idx="2">
                  <c:v>2.4380900586071765E-2</c:v>
                </c:pt>
                <c:pt idx="3">
                  <c:v>5.0303297755392837E-4</c:v>
                </c:pt>
                <c:pt idx="4">
                  <c:v>4.350516731780011E-2</c:v>
                </c:pt>
                <c:pt idx="5">
                  <c:v>2.9994597498183262E-3</c:v>
                </c:pt>
                <c:pt idx="6">
                  <c:v>0.12608543944125586</c:v>
                </c:pt>
                <c:pt idx="7">
                  <c:v>5.5040210686961777E-3</c:v>
                </c:pt>
                <c:pt idx="8">
                  <c:v>0.15884922453893455</c:v>
                </c:pt>
                <c:pt idx="9">
                  <c:v>1.6054128463587371E-3</c:v>
                </c:pt>
                <c:pt idx="10">
                  <c:v>7.948161058566848E-2</c:v>
                </c:pt>
                <c:pt idx="11">
                  <c:v>2.2416848475758328E-5</c:v>
                </c:pt>
                <c:pt idx="12">
                  <c:v>5.900577460496780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3.0873767694925502E-2</c:v>
                </c:pt>
                <c:pt idx="4">
                  <c:v>6.9394030721051546E-3</c:v>
                </c:pt>
                <c:pt idx="6">
                  <c:v>0.15293693630104779</c:v>
                </c:pt>
                <c:pt idx="8">
                  <c:v>0.21729599671011116</c:v>
                </c:pt>
                <c:pt idx="10">
                  <c:v>9.31428620820762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1">
                  <c:v>4.5296979286805553E-2</c:v>
                </c:pt>
                <c:pt idx="6">
                  <c:v>8.96656825477472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9173592602168737E-3</c:v>
                </c:pt>
                <c:pt idx="6">
                  <c:v>6.2221177813062453E-2</c:v>
                </c:pt>
                <c:pt idx="8">
                  <c:v>8.5705392045626327E-3</c:v>
                </c:pt>
                <c:pt idx="10">
                  <c:v>2.749464498212148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4671222901626161E-3</c:v>
                </c:pt>
                <c:pt idx="1">
                  <c:v>2.3605081638759746E-2</c:v>
                </c:pt>
                <c:pt idx="4">
                  <c:v>6.352998890709791E-3</c:v>
                </c:pt>
                <c:pt idx="5">
                  <c:v>4.7199260104972445E-5</c:v>
                </c:pt>
                <c:pt idx="6">
                  <c:v>9.4452067698802586E-2</c:v>
                </c:pt>
                <c:pt idx="7">
                  <c:v>0.2386175451485491</c:v>
                </c:pt>
                <c:pt idx="8">
                  <c:v>9.5854667596162121E-4</c:v>
                </c:pt>
                <c:pt idx="10">
                  <c:v>7.19236384833643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467138887234618E-3</c:v>
                </c:pt>
                <c:pt idx="1">
                  <c:v>0.10371095193438469</c:v>
                </c:pt>
                <c:pt idx="4">
                  <c:v>1.3285795569918612E-2</c:v>
                </c:pt>
                <c:pt idx="6">
                  <c:v>0.39936557319765603</c:v>
                </c:pt>
                <c:pt idx="7">
                  <c:v>9.4392691678762779E-4</c:v>
                </c:pt>
                <c:pt idx="8">
                  <c:v>0.46443195410199767</c:v>
                </c:pt>
                <c:pt idx="10">
                  <c:v>1.67507474712976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1">
                  <c:v>3.0882242148412248E-2</c:v>
                </c:pt>
                <c:pt idx="4">
                  <c:v>6.9385139832919447E-3</c:v>
                </c:pt>
                <c:pt idx="6">
                  <c:v>0.15297897896174137</c:v>
                </c:pt>
                <c:pt idx="8">
                  <c:v>0.21735550502655165</c:v>
                </c:pt>
                <c:pt idx="10">
                  <c:v>9.316789349780691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1">
                  <c:v>4.5309604154125105E-2</c:v>
                </c:pt>
                <c:pt idx="6">
                  <c:v>8.9690636213414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918349657996454E-3</c:v>
                </c:pt>
                <c:pt idx="6">
                  <c:v>6.2262511489209652E-2</c:v>
                </c:pt>
                <c:pt idx="8">
                  <c:v>8.572833875894293E-3</c:v>
                </c:pt>
                <c:pt idx="10">
                  <c:v>2.692475204473849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467138887234618E-3</c:v>
                </c:pt>
                <c:pt idx="1">
                  <c:v>2.3600755973850883E-2</c:v>
                </c:pt>
                <c:pt idx="4">
                  <c:v>6.3472815866266671E-3</c:v>
                </c:pt>
                <c:pt idx="5">
                  <c:v>4.3911920723197764E-5</c:v>
                </c:pt>
                <c:pt idx="6">
                  <c:v>9.443344653329018E-2</c:v>
                </c:pt>
                <c:pt idx="7">
                  <c:v>0.23850361519955171</c:v>
                </c:pt>
                <c:pt idx="8">
                  <c:v>9.4392691678762779E-4</c:v>
                </c:pt>
                <c:pt idx="10">
                  <c:v>7.16471060106952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31469999999999998</c:v>
                </c:pt>
                <c:pt idx="3">
                  <c:v>0.22209999999999999</c:v>
                </c:pt>
                <c:pt idx="6">
                  <c:v>0.16370000000000001</c:v>
                </c:pt>
                <c:pt idx="7">
                  <c:v>0.25140000000000001</c:v>
                </c:pt>
                <c:pt idx="9">
                  <c:v>4.7600000000000003E-2</c:v>
                </c:pt>
                <c:pt idx="12">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323910850997956E-3</c:v>
                </c:pt>
                <c:pt idx="1">
                  <c:v>1.3260072235208328E-2</c:v>
                </c:pt>
                <c:pt idx="2">
                  <c:v>3.0029374209639585E-2</c:v>
                </c:pt>
                <c:pt idx="3">
                  <c:v>4.1537920103246036E-2</c:v>
                </c:pt>
                <c:pt idx="4">
                  <c:v>7.5562270831831257E-2</c:v>
                </c:pt>
                <c:pt idx="5">
                  <c:v>0.1831223576647234</c:v>
                </c:pt>
                <c:pt idx="6">
                  <c:v>6.1540284095095411E-2</c:v>
                </c:pt>
                <c:pt idx="7">
                  <c:v>0.12529305571168425</c:v>
                </c:pt>
                <c:pt idx="8">
                  <c:v>0.26794164527376069</c:v>
                </c:pt>
                <c:pt idx="9">
                  <c:v>7.3834885075368853E-2</c:v>
                </c:pt>
                <c:pt idx="10">
                  <c:v>0.11952001296739617</c:v>
                </c:pt>
                <c:pt idx="11">
                  <c:v>9.79246740074128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6905626999909258E-8</c:v>
                </c:pt>
                <c:pt idx="2">
                  <c:v>7.3222119817831595E-3</c:v>
                </c:pt>
                <c:pt idx="4">
                  <c:v>5.1679227314533381E-3</c:v>
                </c:pt>
                <c:pt idx="5">
                  <c:v>3.808420974352366E-3</c:v>
                </c:pt>
                <c:pt idx="6">
                  <c:v>1.8856276269129557E-8</c:v>
                </c:pt>
                <c:pt idx="8">
                  <c:v>5.8499854544960617E-3</c:v>
                </c:pt>
                <c:pt idx="9">
                  <c:v>3.446147042289195E-8</c:v>
                </c:pt>
                <c:pt idx="10">
                  <c:v>1.108474653294281E-3</c:v>
                </c:pt>
                <c:pt idx="11">
                  <c:v>1.16791873912450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3.0947629348796581E-3</c:v>
                </c:pt>
                <c:pt idx="1">
                  <c:v>1.1499744564103737E-2</c:v>
                </c:pt>
                <c:pt idx="2">
                  <c:v>1.0875392449907319E-2</c:v>
                </c:pt>
                <c:pt idx="3">
                  <c:v>3.8551754364698841E-2</c:v>
                </c:pt>
                <c:pt idx="4">
                  <c:v>1.3322018353834533E-2</c:v>
                </c:pt>
                <c:pt idx="5">
                  <c:v>1.6020932131212778E-2</c:v>
                </c:pt>
                <c:pt idx="6">
                  <c:v>5.7226877087278027E-2</c:v>
                </c:pt>
                <c:pt idx="7">
                  <c:v>0.12168005598285377</c:v>
                </c:pt>
                <c:pt idx="8">
                  <c:v>4.2306663177648689E-2</c:v>
                </c:pt>
                <c:pt idx="9">
                  <c:v>7.1515029916798992E-2</c:v>
                </c:pt>
                <c:pt idx="10">
                  <c:v>1.8689465846655762E-2</c:v>
                </c:pt>
                <c:pt idx="11">
                  <c:v>8.9829674605075528E-4</c:v>
                </c:pt>
                <c:pt idx="12">
                  <c:v>9.9131995861775595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2.6593851703703411E-6</c:v>
                </c:pt>
                <c:pt idx="2">
                  <c:v>4.5212148761988093E-5</c:v>
                </c:pt>
                <c:pt idx="4">
                  <c:v>4.6534233815023309E-3</c:v>
                </c:pt>
                <c:pt idx="5">
                  <c:v>6.3583500124953715E-3</c:v>
                </c:pt>
                <c:pt idx="8">
                  <c:v>1.9697589348295005E-2</c:v>
                </c:pt>
                <c:pt idx="10">
                  <c:v>1.479045346915868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1.7287824213391823E-4</c:v>
                </c:pt>
                <c:pt idx="2">
                  <c:v>1.5732747109476709E-3</c:v>
                </c:pt>
                <c:pt idx="4">
                  <c:v>1.0067187740788349E-2</c:v>
                </c:pt>
                <c:pt idx="5">
                  <c:v>1.8507375338239738E-2</c:v>
                </c:pt>
                <c:pt idx="6">
                  <c:v>5.6816106113083506E-4</c:v>
                </c:pt>
                <c:pt idx="8">
                  <c:v>1.5755018322399821E-2</c:v>
                </c:pt>
                <c:pt idx="10">
                  <c:v>1.94716671005831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3.9620736172888494E-3</c:v>
                </c:pt>
                <c:pt idx="1">
                  <c:v>1.76032767110459E-3</c:v>
                </c:pt>
                <c:pt idx="2">
                  <c:v>1.021328291823945E-2</c:v>
                </c:pt>
                <c:pt idx="3">
                  <c:v>2.9861657385472024E-3</c:v>
                </c:pt>
                <c:pt idx="4">
                  <c:v>4.2351718624252715E-2</c:v>
                </c:pt>
                <c:pt idx="5">
                  <c:v>2.6414252824620607E-2</c:v>
                </c:pt>
                <c:pt idx="6">
                  <c:v>0.11575825347421281</c:v>
                </c:pt>
                <c:pt idx="7">
                  <c:v>3.612999728830492E-3</c:v>
                </c:pt>
                <c:pt idx="8">
                  <c:v>0.18433238897092111</c:v>
                </c:pt>
                <c:pt idx="9">
                  <c:v>2.3198206970994331E-3</c:v>
                </c:pt>
                <c:pt idx="10">
                  <c:v>9.6295860410471931E-2</c:v>
                </c:pt>
                <c:pt idx="11">
                  <c:v>6.92708066321281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33239999999999997</c:v>
                </c:pt>
                <c:pt idx="4">
                  <c:v>0.27910000000000001</c:v>
                </c:pt>
                <c:pt idx="5">
                  <c:v>3.09E-2</c:v>
                </c:pt>
                <c:pt idx="7">
                  <c:v>0.3024</c:v>
                </c:pt>
                <c:pt idx="10">
                  <c:v>5.4100000000000002E-2</c:v>
                </c:pt>
                <c:pt idx="11">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0810000882490144E-3</c:v>
                </c:pt>
                <c:pt idx="1">
                  <c:v>1.9057746725806689E-2</c:v>
                </c:pt>
                <c:pt idx="2">
                  <c:v>1.3061519103123722E-2</c:v>
                </c:pt>
                <c:pt idx="3">
                  <c:v>6.7854811076461852E-2</c:v>
                </c:pt>
                <c:pt idx="4">
                  <c:v>4.5626593872910418E-2</c:v>
                </c:pt>
                <c:pt idx="5">
                  <c:v>5.9953586010787034E-2</c:v>
                </c:pt>
                <c:pt idx="6">
                  <c:v>0.17594240996402155</c:v>
                </c:pt>
                <c:pt idx="7">
                  <c:v>0.15629945053556907</c:v>
                </c:pt>
                <c:pt idx="8">
                  <c:v>0.25184260675323467</c:v>
                </c:pt>
                <c:pt idx="9">
                  <c:v>0.12010973641082048</c:v>
                </c:pt>
                <c:pt idx="10">
                  <c:v>8.5453909757794072E-2</c:v>
                </c:pt>
                <c:pt idx="11">
                  <c:v>5.86396562284361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0">
                  <c:v>1.1152300943159527E-7</c:v>
                </c:pt>
                <c:pt idx="1">
                  <c:v>9.6116834867528214E-3</c:v>
                </c:pt>
                <c:pt idx="3">
                  <c:v>8.0702682118940269E-3</c:v>
                </c:pt>
                <c:pt idx="6">
                  <c:v>8.9468476447193983E-4</c:v>
                </c:pt>
                <c:pt idx="8">
                  <c:v>8.7428205883108116E-3</c:v>
                </c:pt>
                <c:pt idx="9">
                  <c:v>1.5639815268826257E-3</c:v>
                </c:pt>
                <c:pt idx="12">
                  <c:v>3.151811820397546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0">
                  <c:v>3.4958174110288519E-6</c:v>
                </c:pt>
                <c:pt idx="2">
                  <c:v>9.2451416695232998E-3</c:v>
                </c:pt>
                <c:pt idx="4">
                  <c:v>4.0919173330030652E-2</c:v>
                </c:pt>
                <c:pt idx="5">
                  <c:v>5.5159640769974413E-2</c:v>
                </c:pt>
                <c:pt idx="7">
                  <c:v>0.15016308138349577</c:v>
                </c:pt>
                <c:pt idx="10">
                  <c:v>8.0742727458019248E-2</c:v>
                </c:pt>
                <c:pt idx="11">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0">
                  <c:v>3.9805135674046311E-6</c:v>
                </c:pt>
                <c:pt idx="1">
                  <c:v>4.3536867143488152E-6</c:v>
                </c:pt>
                <c:pt idx="3">
                  <c:v>5.3234779363264184E-3</c:v>
                </c:pt>
                <c:pt idx="6">
                  <c:v>7.3885580806643007E-3</c:v>
                </c:pt>
                <c:pt idx="8">
                  <c:v>2.316147177190065E-2</c:v>
                </c:pt>
                <c:pt idx="9">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1">
                  <c:v>2.2566037556505814E-3</c:v>
                </c:pt>
                <c:pt idx="3">
                  <c:v>6.1774139088906594E-3</c:v>
                </c:pt>
                <c:pt idx="6">
                  <c:v>6.2881948613748833E-3</c:v>
                </c:pt>
                <c:pt idx="8">
                  <c:v>2.3073758924982701E-2</c:v>
                </c:pt>
                <c:pt idx="9">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0">
                  <c:v>4.0734122342611506E-3</c:v>
                </c:pt>
                <c:pt idx="1">
                  <c:v>4.990946347627017E-3</c:v>
                </c:pt>
                <c:pt idx="2">
                  <c:v>6.0105368826623446E-3</c:v>
                </c:pt>
                <c:pt idx="3">
                  <c:v>8.2978609380648122E-3</c:v>
                </c:pt>
                <c:pt idx="4">
                  <c:v>4.4693210624165716E-2</c:v>
                </c:pt>
                <c:pt idx="5">
                  <c:v>4.7939452408126207E-3</c:v>
                </c:pt>
                <c:pt idx="6">
                  <c:v>0.16137097225751046</c:v>
                </c:pt>
                <c:pt idx="7">
                  <c:v>6.1363691520733166E-3</c:v>
                </c:pt>
                <c:pt idx="8">
                  <c:v>0.19686455546804049</c:v>
                </c:pt>
                <c:pt idx="9">
                  <c:v>3.4553675865733602E-2</c:v>
                </c:pt>
                <c:pt idx="10">
                  <c:v>8.6221158037257828E-2</c:v>
                </c:pt>
                <c:pt idx="12">
                  <c:v>5.495896798254180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86745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7752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5308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51408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66607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95971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3873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77948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13980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94519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940632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33997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62240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4633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9280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082023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63067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96532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6859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16135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7036795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72031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267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494399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20773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312622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356010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759665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982688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731063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771563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211565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21288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12013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790748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69447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835018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215236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23515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560366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668798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150892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21439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2158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415512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007906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139057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323527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243972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834341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73990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30157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024360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05773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13229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208020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53274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330714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88911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079550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465672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2715387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300992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898303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32254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35081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542183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98864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36216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608701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899603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093265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72087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923275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644261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296887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30258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297825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882186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189842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521074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564960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27974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415502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483521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628817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877837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89027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3657702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588969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677983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012687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10371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8199</Words>
  <Application>Microsoft Office PowerPoint</Application>
  <PresentationFormat>On-screen Show (16:9)</PresentationFormat>
  <Paragraphs>2874</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5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